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101" r:id="rId4"/>
  </p:sldMasterIdLst>
  <p:notesMasterIdLst>
    <p:notesMasterId r:id="rId30"/>
  </p:notesMasterIdLst>
  <p:sldIdLst>
    <p:sldId id="1676" r:id="rId5"/>
    <p:sldId id="1611" r:id="rId6"/>
    <p:sldId id="1606" r:id="rId7"/>
    <p:sldId id="1689" r:id="rId8"/>
    <p:sldId id="1691" r:id="rId9"/>
    <p:sldId id="1692" r:id="rId10"/>
    <p:sldId id="1693" r:id="rId11"/>
    <p:sldId id="1694" r:id="rId12"/>
    <p:sldId id="1695" r:id="rId13"/>
    <p:sldId id="1696" r:id="rId14"/>
    <p:sldId id="1697" r:id="rId15"/>
    <p:sldId id="1698" r:id="rId16"/>
    <p:sldId id="1699" r:id="rId17"/>
    <p:sldId id="1700" r:id="rId18"/>
    <p:sldId id="1701" r:id="rId19"/>
    <p:sldId id="1702" r:id="rId20"/>
    <p:sldId id="1703" r:id="rId21"/>
    <p:sldId id="1704" r:id="rId22"/>
    <p:sldId id="1706" r:id="rId23"/>
    <p:sldId id="1707" r:id="rId24"/>
    <p:sldId id="1708" r:id="rId25"/>
    <p:sldId id="1709" r:id="rId26"/>
    <p:sldId id="1710" r:id="rId27"/>
    <p:sldId id="1690" r:id="rId28"/>
    <p:sldId id="1712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4100"/>
    <a:srgbClr val="AA48F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5" autoAdjust="0"/>
    <p:restoredTop sz="94461"/>
  </p:normalViewPr>
  <p:slideViewPr>
    <p:cSldViewPr snapToGrid="0" snapToObjects="1">
      <p:cViewPr varScale="1">
        <p:scale>
          <a:sx n="119" d="100"/>
          <a:sy n="119" d="100"/>
        </p:scale>
        <p:origin x="102" y="3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97" d="100"/>
          <a:sy n="97" d="100"/>
        </p:scale>
        <p:origin x="3120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3D0645-6491-924B-B0B0-6CE4C12E675E}" type="datetimeFigureOut">
              <a:rPr lang="en-US" smtClean="0"/>
              <a:t>09-Oct-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0D2461-D05C-0845-8236-97E6F144EE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60976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89420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9127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0569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61140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1577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42099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F04718D-CBDC-0E4E-87C5-43EB1B528B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6444" y="6356350"/>
            <a:ext cx="4114800" cy="365125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65CA54-EFB6-D842-82B4-9D44464FC0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313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58" y="210953"/>
            <a:ext cx="9458018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B4D74E7-CD3B-1149-8E19-92421714CF79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E52FA851-3B2C-BE40-81F8-B02EC00721FC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F2498644-4A50-5E4B-A00F-C1017D3701E0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298566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58" y="210953"/>
            <a:ext cx="9458018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0E79B7E-A1E2-2F4C-B194-A8B98128C891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D38915C2-F88F-E645-AF3C-29AF0281BF7F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58F40255-AC58-B146-BF16-F57B17C388DD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863518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41BF3C6-86FD-3A44-8CF8-0A7A26E5E228}"/>
              </a:ext>
            </a:extLst>
          </p:cNvPr>
          <p:cNvSpPr/>
          <p:nvPr userDrawn="1"/>
        </p:nvSpPr>
        <p:spPr>
          <a:xfrm>
            <a:off x="1441630" y="0"/>
            <a:ext cx="8653346" cy="8612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0576" y="210953"/>
            <a:ext cx="8388096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5502" y="1143905"/>
            <a:ext cx="9930054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5460E37-A00A-9C43-87A8-27A6CDEFC735}"/>
              </a:ext>
            </a:extLst>
          </p:cNvPr>
          <p:cNvGrpSpPr/>
          <p:nvPr userDrawn="1"/>
        </p:nvGrpSpPr>
        <p:grpSpPr>
          <a:xfrm>
            <a:off x="1349555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855AE025-2CF8-8547-BE34-8CC2E06DD203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8A19FF9B-004B-7E4C-95BD-71024E7601C9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FC340C4-67F0-F34A-8400-BDB748B8B1F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14616" y="1146267"/>
            <a:ext cx="1652651" cy="1652651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10445701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090E9F78-8F75-D24C-8B8C-D22607F61B20}"/>
              </a:ext>
            </a:extLst>
          </p:cNvPr>
          <p:cNvSpPr/>
          <p:nvPr userDrawn="1"/>
        </p:nvSpPr>
        <p:spPr>
          <a:xfrm>
            <a:off x="1441630" y="0"/>
            <a:ext cx="8653346" cy="861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40E9AC6-F37F-3747-BABD-31506F773DE6}"/>
              </a:ext>
            </a:extLst>
          </p:cNvPr>
          <p:cNvGrpSpPr/>
          <p:nvPr userDrawn="1"/>
        </p:nvGrpSpPr>
        <p:grpSpPr>
          <a:xfrm>
            <a:off x="1349555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09277C98-6A1D-7645-AB65-0B7566641757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577EEE67-8967-2643-B6C2-391C0C58CBA3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9011" y="210953"/>
            <a:ext cx="818083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10032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D4AB7DD9-9A36-4B40-A48F-D70A8DDA965B}"/>
              </a:ext>
            </a:extLst>
          </p:cNvPr>
          <p:cNvSpPr/>
          <p:nvPr userDrawn="1"/>
        </p:nvSpPr>
        <p:spPr>
          <a:xfrm>
            <a:off x="1441630" y="0"/>
            <a:ext cx="8653346" cy="8612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C57DFB4-2DB0-9A45-8E0B-3C5B745DD405}"/>
              </a:ext>
            </a:extLst>
          </p:cNvPr>
          <p:cNvGrpSpPr/>
          <p:nvPr userDrawn="1"/>
        </p:nvGrpSpPr>
        <p:grpSpPr>
          <a:xfrm>
            <a:off x="1349555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8A1070B5-0756-3F45-AD43-0D4B5DE5D410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4B295DD8-2AD6-F747-8C86-305A7EA9B0F8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5502" y="1143905"/>
            <a:ext cx="9930054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8159" y="210953"/>
            <a:ext cx="818083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154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A49D7E85-CD40-1A45-9D09-3D68055541A0}"/>
              </a:ext>
            </a:extLst>
          </p:cNvPr>
          <p:cNvSpPr/>
          <p:nvPr userDrawn="1"/>
        </p:nvSpPr>
        <p:spPr>
          <a:xfrm>
            <a:off x="1441630" y="0"/>
            <a:ext cx="8653346" cy="86126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DB91EBD-EF03-F949-A5B2-04DCA8E05181}"/>
              </a:ext>
            </a:extLst>
          </p:cNvPr>
          <p:cNvGrpSpPr/>
          <p:nvPr userDrawn="1"/>
        </p:nvGrpSpPr>
        <p:grpSpPr>
          <a:xfrm>
            <a:off x="1349555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425B2B9-B694-004D-AE19-7DEEEA93539D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EFF06893-5107-9D45-A19A-F0BB769E12BC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2768" y="210953"/>
            <a:ext cx="818083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48175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4632" y="1166588"/>
            <a:ext cx="3855720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730240" y="0"/>
            <a:ext cx="6614160" cy="6872296"/>
          </a:xfrm>
          <a:solidFill>
            <a:schemeClr val="accent1"/>
          </a:solidFill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5501640" y="-14296"/>
            <a:ext cx="228600" cy="6872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63807-9A2E-9E40-B1EF-82F486DE4D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5E06E-05A2-224F-B7CA-8483B049DE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FD6B1E0-5D4D-BF47-A1EB-0AF85A46D5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3900" y="4915968"/>
            <a:ext cx="3905250" cy="768350"/>
          </a:xfr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67"/>
          <a:stretch/>
        </p:blipFill>
        <p:spPr>
          <a:xfrm>
            <a:off x="-13855" y="173454"/>
            <a:ext cx="4266938" cy="6511092"/>
          </a:xfrm>
          <a:prstGeom prst="rect">
            <a:avLst/>
          </a:prstGeom>
        </p:spPr>
      </p:pic>
      <p:sp>
        <p:nvSpPr>
          <p:cNvPr id="15" name="Freeform 14">
            <a:extLst>
              <a:ext uri="{FF2B5EF4-FFF2-40B4-BE49-F238E27FC236}">
                <a16:creationId xmlns:a16="http://schemas.microsoft.com/office/drawing/2014/main" id="{45FF6FBA-5AF6-EA44-970F-E5B386A2A102}"/>
              </a:ext>
            </a:extLst>
          </p:cNvPr>
          <p:cNvSpPr/>
          <p:nvPr userDrawn="1"/>
        </p:nvSpPr>
        <p:spPr>
          <a:xfrm>
            <a:off x="680733" y="1245879"/>
            <a:ext cx="1672482" cy="4339399"/>
          </a:xfrm>
          <a:custGeom>
            <a:avLst/>
            <a:gdLst>
              <a:gd name="connsiteX0" fmla="*/ 34627 w 133981"/>
              <a:gd name="connsiteY0" fmla="*/ 331081 h 347628"/>
              <a:gd name="connsiteX1" fmla="*/ 17314 w 133981"/>
              <a:gd name="connsiteY1" fmla="*/ 348395 h 347628"/>
              <a:gd name="connsiteX2" fmla="*/ 0 w 133981"/>
              <a:gd name="connsiteY2" fmla="*/ 331081 h 347628"/>
              <a:gd name="connsiteX3" fmla="*/ 0 w 133981"/>
              <a:gd name="connsiteY3" fmla="*/ 143513 h 347628"/>
              <a:gd name="connsiteX4" fmla="*/ 17314 w 133981"/>
              <a:gd name="connsiteY4" fmla="*/ 126199 h 347628"/>
              <a:gd name="connsiteX5" fmla="*/ 34627 w 133981"/>
              <a:gd name="connsiteY5" fmla="*/ 143513 h 347628"/>
              <a:gd name="connsiteX6" fmla="*/ 134434 w 133981"/>
              <a:gd name="connsiteY6" fmla="*/ 117150 h 347628"/>
              <a:gd name="connsiteX7" fmla="*/ 117150 w 133981"/>
              <a:gd name="connsiteY7" fmla="*/ 134434 h 347628"/>
              <a:gd name="connsiteX8" fmla="*/ 99865 w 133981"/>
              <a:gd name="connsiteY8" fmla="*/ 117150 h 347628"/>
              <a:gd name="connsiteX9" fmla="*/ 99865 w 133981"/>
              <a:gd name="connsiteY9" fmla="*/ 34569 h 347628"/>
              <a:gd name="connsiteX10" fmla="*/ 17285 w 133981"/>
              <a:gd name="connsiteY10" fmla="*/ 34569 h 347628"/>
              <a:gd name="connsiteX11" fmla="*/ 0 w 133981"/>
              <a:gd name="connsiteY11" fmla="*/ 17285 h 347628"/>
              <a:gd name="connsiteX12" fmla="*/ 17285 w 133981"/>
              <a:gd name="connsiteY12" fmla="*/ 0 h 347628"/>
              <a:gd name="connsiteX13" fmla="*/ 117150 w 133981"/>
              <a:gd name="connsiteY13" fmla="*/ 0 h 347628"/>
              <a:gd name="connsiteX14" fmla="*/ 134434 w 133981"/>
              <a:gd name="connsiteY14" fmla="*/ 17141 h 347628"/>
              <a:gd name="connsiteX15" fmla="*/ 134434 w 133981"/>
              <a:gd name="connsiteY15" fmla="*/ 17285 h 347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3981" h="347628">
                <a:moveTo>
                  <a:pt x="34627" y="331081"/>
                </a:moveTo>
                <a:cubicBezTo>
                  <a:pt x="34627" y="340643"/>
                  <a:pt x="26875" y="348395"/>
                  <a:pt x="17314" y="348395"/>
                </a:cubicBezTo>
                <a:cubicBezTo>
                  <a:pt x="7752" y="348395"/>
                  <a:pt x="0" y="340643"/>
                  <a:pt x="0" y="331081"/>
                </a:cubicBezTo>
                <a:lnTo>
                  <a:pt x="0" y="143513"/>
                </a:lnTo>
                <a:cubicBezTo>
                  <a:pt x="0" y="133951"/>
                  <a:pt x="7752" y="126199"/>
                  <a:pt x="17314" y="126199"/>
                </a:cubicBezTo>
                <a:cubicBezTo>
                  <a:pt x="26875" y="126199"/>
                  <a:pt x="34627" y="133951"/>
                  <a:pt x="34627" y="143513"/>
                </a:cubicBezTo>
                <a:close/>
                <a:moveTo>
                  <a:pt x="134434" y="117150"/>
                </a:moveTo>
                <a:cubicBezTo>
                  <a:pt x="134434" y="126696"/>
                  <a:pt x="126696" y="134434"/>
                  <a:pt x="117150" y="134434"/>
                </a:cubicBezTo>
                <a:cubicBezTo>
                  <a:pt x="107604" y="134434"/>
                  <a:pt x="99865" y="126696"/>
                  <a:pt x="99865" y="117150"/>
                </a:cubicBezTo>
                <a:lnTo>
                  <a:pt x="99865" y="34569"/>
                </a:lnTo>
                <a:lnTo>
                  <a:pt x="17285" y="34569"/>
                </a:lnTo>
                <a:cubicBezTo>
                  <a:pt x="7739" y="34569"/>
                  <a:pt x="0" y="26831"/>
                  <a:pt x="0" y="17285"/>
                </a:cubicBezTo>
                <a:cubicBezTo>
                  <a:pt x="0" y="7739"/>
                  <a:pt x="7739" y="0"/>
                  <a:pt x="17285" y="0"/>
                </a:cubicBezTo>
                <a:lnTo>
                  <a:pt x="117150" y="0"/>
                </a:lnTo>
                <a:cubicBezTo>
                  <a:pt x="126656" y="-39"/>
                  <a:pt x="134395" y="7635"/>
                  <a:pt x="134434" y="17141"/>
                </a:cubicBezTo>
                <a:cubicBezTo>
                  <a:pt x="134434" y="17189"/>
                  <a:pt x="134434" y="17237"/>
                  <a:pt x="134434" y="17285"/>
                </a:cubicBezTo>
                <a:close/>
              </a:path>
            </a:pathLst>
          </a:custGeom>
          <a:solidFill>
            <a:schemeClr val="tx1">
              <a:alpha val="6000"/>
            </a:schemeClr>
          </a:solidFill>
          <a:ln w="89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49168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-Q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1FF2BA3-44B5-9F41-B215-B2D638C5EE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2335" r="1778" b="14242"/>
          <a:stretch/>
        </p:blipFill>
        <p:spPr>
          <a:xfrm>
            <a:off x="3159756" y="1705433"/>
            <a:ext cx="9064419" cy="3743661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809129" y="3429000"/>
            <a:ext cx="6382871" cy="634355"/>
          </a:xfrm>
          <a:solidFill>
            <a:schemeClr val="bg1">
              <a:alpha val="29000"/>
            </a:schemeClr>
          </a:solidFill>
        </p:spPr>
        <p:txBody>
          <a:bodyPr anchor="ctr" anchorCtr="0">
            <a:normAutofit/>
          </a:bodyPr>
          <a:lstStyle>
            <a:lvl1pPr marL="0" indent="0" algn="l">
              <a:buNone/>
              <a:defRPr sz="3200" b="0">
                <a:ln>
                  <a:noFill/>
                </a:ln>
                <a:solidFill>
                  <a:sysClr val="windowText" lastClr="000000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ection Title can go her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38FA51DE-4449-DD4E-BFF6-7E9BE0C6D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4101E4D-1F74-384A-B9E1-42176F5D990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3562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67"/>
          <a:stretch/>
        </p:blipFill>
        <p:spPr>
          <a:xfrm>
            <a:off x="-13855" y="173454"/>
            <a:ext cx="4266938" cy="651109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1942032"/>
            <a:ext cx="3855720" cy="127642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63807-9A2E-9E40-B1EF-82F486DE4D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5E06E-05A2-224F-B7CA-8483B049DE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45FF6FBA-5AF6-EA44-970F-E5B386A2A102}"/>
              </a:ext>
            </a:extLst>
          </p:cNvPr>
          <p:cNvSpPr/>
          <p:nvPr userDrawn="1"/>
        </p:nvSpPr>
        <p:spPr>
          <a:xfrm>
            <a:off x="680733" y="1245879"/>
            <a:ext cx="1672482" cy="4339399"/>
          </a:xfrm>
          <a:custGeom>
            <a:avLst/>
            <a:gdLst>
              <a:gd name="connsiteX0" fmla="*/ 34627 w 133981"/>
              <a:gd name="connsiteY0" fmla="*/ 331081 h 347628"/>
              <a:gd name="connsiteX1" fmla="*/ 17314 w 133981"/>
              <a:gd name="connsiteY1" fmla="*/ 348395 h 347628"/>
              <a:gd name="connsiteX2" fmla="*/ 0 w 133981"/>
              <a:gd name="connsiteY2" fmla="*/ 331081 h 347628"/>
              <a:gd name="connsiteX3" fmla="*/ 0 w 133981"/>
              <a:gd name="connsiteY3" fmla="*/ 143513 h 347628"/>
              <a:gd name="connsiteX4" fmla="*/ 17314 w 133981"/>
              <a:gd name="connsiteY4" fmla="*/ 126199 h 347628"/>
              <a:gd name="connsiteX5" fmla="*/ 34627 w 133981"/>
              <a:gd name="connsiteY5" fmla="*/ 143513 h 347628"/>
              <a:gd name="connsiteX6" fmla="*/ 134434 w 133981"/>
              <a:gd name="connsiteY6" fmla="*/ 117150 h 347628"/>
              <a:gd name="connsiteX7" fmla="*/ 117150 w 133981"/>
              <a:gd name="connsiteY7" fmla="*/ 134434 h 347628"/>
              <a:gd name="connsiteX8" fmla="*/ 99865 w 133981"/>
              <a:gd name="connsiteY8" fmla="*/ 117150 h 347628"/>
              <a:gd name="connsiteX9" fmla="*/ 99865 w 133981"/>
              <a:gd name="connsiteY9" fmla="*/ 34569 h 347628"/>
              <a:gd name="connsiteX10" fmla="*/ 17285 w 133981"/>
              <a:gd name="connsiteY10" fmla="*/ 34569 h 347628"/>
              <a:gd name="connsiteX11" fmla="*/ 0 w 133981"/>
              <a:gd name="connsiteY11" fmla="*/ 17285 h 347628"/>
              <a:gd name="connsiteX12" fmla="*/ 17285 w 133981"/>
              <a:gd name="connsiteY12" fmla="*/ 0 h 347628"/>
              <a:gd name="connsiteX13" fmla="*/ 117150 w 133981"/>
              <a:gd name="connsiteY13" fmla="*/ 0 h 347628"/>
              <a:gd name="connsiteX14" fmla="*/ 134434 w 133981"/>
              <a:gd name="connsiteY14" fmla="*/ 17141 h 347628"/>
              <a:gd name="connsiteX15" fmla="*/ 134434 w 133981"/>
              <a:gd name="connsiteY15" fmla="*/ 17285 h 347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3981" h="347628">
                <a:moveTo>
                  <a:pt x="34627" y="331081"/>
                </a:moveTo>
                <a:cubicBezTo>
                  <a:pt x="34627" y="340643"/>
                  <a:pt x="26875" y="348395"/>
                  <a:pt x="17314" y="348395"/>
                </a:cubicBezTo>
                <a:cubicBezTo>
                  <a:pt x="7752" y="348395"/>
                  <a:pt x="0" y="340643"/>
                  <a:pt x="0" y="331081"/>
                </a:cubicBezTo>
                <a:lnTo>
                  <a:pt x="0" y="143513"/>
                </a:lnTo>
                <a:cubicBezTo>
                  <a:pt x="0" y="133951"/>
                  <a:pt x="7752" y="126199"/>
                  <a:pt x="17314" y="126199"/>
                </a:cubicBezTo>
                <a:cubicBezTo>
                  <a:pt x="26875" y="126199"/>
                  <a:pt x="34627" y="133951"/>
                  <a:pt x="34627" y="143513"/>
                </a:cubicBezTo>
                <a:close/>
                <a:moveTo>
                  <a:pt x="134434" y="117150"/>
                </a:moveTo>
                <a:cubicBezTo>
                  <a:pt x="134434" y="126696"/>
                  <a:pt x="126696" y="134434"/>
                  <a:pt x="117150" y="134434"/>
                </a:cubicBezTo>
                <a:cubicBezTo>
                  <a:pt x="107604" y="134434"/>
                  <a:pt x="99865" y="126696"/>
                  <a:pt x="99865" y="117150"/>
                </a:cubicBezTo>
                <a:lnTo>
                  <a:pt x="99865" y="34569"/>
                </a:lnTo>
                <a:lnTo>
                  <a:pt x="17285" y="34569"/>
                </a:lnTo>
                <a:cubicBezTo>
                  <a:pt x="7739" y="34569"/>
                  <a:pt x="0" y="26831"/>
                  <a:pt x="0" y="17285"/>
                </a:cubicBezTo>
                <a:cubicBezTo>
                  <a:pt x="0" y="7739"/>
                  <a:pt x="7739" y="0"/>
                  <a:pt x="17285" y="0"/>
                </a:cubicBezTo>
                <a:lnTo>
                  <a:pt x="117150" y="0"/>
                </a:lnTo>
                <a:cubicBezTo>
                  <a:pt x="126656" y="-39"/>
                  <a:pt x="134395" y="7635"/>
                  <a:pt x="134434" y="17141"/>
                </a:cubicBezTo>
                <a:cubicBezTo>
                  <a:pt x="134434" y="17189"/>
                  <a:pt x="134434" y="17237"/>
                  <a:pt x="134434" y="17285"/>
                </a:cubicBezTo>
                <a:close/>
              </a:path>
            </a:pathLst>
          </a:custGeom>
          <a:solidFill>
            <a:schemeClr val="tx1">
              <a:alpha val="6000"/>
            </a:schemeClr>
          </a:solidFill>
          <a:ln w="89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FD6B1E0-5D4D-BF47-A1EB-0AF85A46D5C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23900" y="4915968"/>
            <a:ext cx="3905250" cy="768350"/>
          </a:xfr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34973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 8 Sl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" y="0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049021" y="0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098037" y="0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9147053" y="0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5" y="3419856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049021" y="3419856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6098037" y="3419856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9147053" y="3419856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F6CAF25-B2AB-9543-822F-5F05F0D6B5C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5233EB4-CE78-C449-A4B8-7F7F0F82885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8610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-Title-Slide-Dark-Image-Q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9D4A13A0-76EC-5C4B-B401-B23F4BAB0D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778"/>
          <a:stretch/>
        </p:blipFill>
        <p:spPr>
          <a:xfrm>
            <a:off x="0" y="-4445"/>
            <a:ext cx="12192000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11586" y="5570934"/>
            <a:ext cx="6441141" cy="467500"/>
          </a:xfrm>
          <a:ln w="6350">
            <a:noFill/>
          </a:ln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Franklin Gothic Book" panose="020B0503020102020204" pitchFamily="34" charset="0"/>
              <a:buNone/>
              <a:tabLst/>
              <a:defRPr sz="23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Your Name  I   Title Go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11588" y="2030506"/>
            <a:ext cx="6441140" cy="3540427"/>
          </a:xfrm>
          <a:noFill/>
        </p:spPr>
        <p:txBody>
          <a:bodyPr anchor="ctr" anchorCtr="0">
            <a:noAutofit/>
          </a:bodyPr>
          <a:lstStyle>
            <a:lvl1pPr algn="l">
              <a:defRPr sz="63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You Presentation Title Goes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81D5CC-1654-0447-B7D5-1C841CD2D3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7407B95-5F23-474A-A825-4EC2464BAB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11775" y="6038850"/>
            <a:ext cx="6440488" cy="36983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bg2"/>
                </a:solidFill>
              </a:defRPr>
            </a:lvl1pPr>
          </a:lstStyle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ate  I   Plac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6B2309B-0CBF-8045-B701-48458E8302D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7046" y="381000"/>
            <a:ext cx="2599722" cy="649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3446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A sunset in the background&#10;&#10;Description automatically generated">
            <a:extLst>
              <a:ext uri="{FF2B5EF4-FFF2-40B4-BE49-F238E27FC236}">
                <a16:creationId xmlns:a16="http://schemas.microsoft.com/office/drawing/2014/main" id="{FF33B798-8613-8145-9556-7DA1D317BF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78"/>
            <a:ext cx="12214117" cy="685307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BAF1DB3-ECAC-5C45-AE18-EBA28E539140}"/>
              </a:ext>
            </a:extLst>
          </p:cNvPr>
          <p:cNvSpPr/>
          <p:nvPr userDrawn="1"/>
        </p:nvSpPr>
        <p:spPr>
          <a:xfrm>
            <a:off x="0" y="1172584"/>
            <a:ext cx="12902005" cy="5315845"/>
          </a:xfrm>
          <a:prstGeom prst="rect">
            <a:avLst/>
          </a:prstGeom>
          <a:solidFill>
            <a:schemeClr val="tx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1020011" y="1986216"/>
            <a:ext cx="2560320" cy="181051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3747463" y="1986216"/>
            <a:ext cx="2560320" cy="181051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6490537" y="1986216"/>
            <a:ext cx="2560320" cy="181051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20"/>
          </p:nvPr>
        </p:nvSpPr>
        <p:spPr>
          <a:xfrm>
            <a:off x="9233863" y="1986216"/>
            <a:ext cx="2560320" cy="181051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21" hasCustomPrompt="1"/>
          </p:nvPr>
        </p:nvSpPr>
        <p:spPr>
          <a:xfrm>
            <a:off x="1021090" y="3816720"/>
            <a:ext cx="2533775" cy="296307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1600" b="0" i="0">
                <a:solidFill>
                  <a:schemeClr val="bg2"/>
                </a:solidFill>
                <a:latin typeface="+mn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Subtitle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1020015" y="4177788"/>
            <a:ext cx="2560321" cy="2141853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200" b="0" i="0">
                <a:solidFill>
                  <a:schemeClr val="bg2"/>
                </a:solidFill>
                <a:latin typeface="+mj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Profile Detai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41" hasCustomPrompt="1"/>
          </p:nvPr>
        </p:nvSpPr>
        <p:spPr>
          <a:xfrm>
            <a:off x="3748545" y="3816720"/>
            <a:ext cx="2533775" cy="296307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1600" b="0" i="0">
                <a:solidFill>
                  <a:schemeClr val="bg2"/>
                </a:solidFill>
                <a:latin typeface="+mn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Subtitl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3747469" y="4177788"/>
            <a:ext cx="2560321" cy="2141853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200" b="0" i="0">
                <a:solidFill>
                  <a:schemeClr val="bg2"/>
                </a:solidFill>
                <a:latin typeface="+mj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Profile Detai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44" hasCustomPrompt="1"/>
          </p:nvPr>
        </p:nvSpPr>
        <p:spPr>
          <a:xfrm>
            <a:off x="6488443" y="3816720"/>
            <a:ext cx="2533775" cy="296307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1600" b="0" i="0">
                <a:solidFill>
                  <a:schemeClr val="bg2"/>
                </a:solidFill>
                <a:latin typeface="+mn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Subtitle</a:t>
            </a:r>
          </a:p>
        </p:txBody>
      </p:sp>
      <p:sp>
        <p:nvSpPr>
          <p:cNvPr id="16" name="Content Placeholder 13"/>
          <p:cNvSpPr>
            <a:spLocks noGrp="1"/>
          </p:cNvSpPr>
          <p:nvPr>
            <p:ph sz="quarter" idx="46" hasCustomPrompt="1"/>
          </p:nvPr>
        </p:nvSpPr>
        <p:spPr>
          <a:xfrm>
            <a:off x="6487367" y="4177788"/>
            <a:ext cx="2560321" cy="2141853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200" b="0" i="0">
                <a:solidFill>
                  <a:schemeClr val="bg2"/>
                </a:solidFill>
                <a:latin typeface="+mj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Profile Detail</a:t>
            </a:r>
          </a:p>
        </p:txBody>
      </p:sp>
      <p:sp>
        <p:nvSpPr>
          <p:cNvPr id="17" name="Content Placeholder 13"/>
          <p:cNvSpPr>
            <a:spLocks noGrp="1"/>
          </p:cNvSpPr>
          <p:nvPr>
            <p:ph sz="quarter" idx="47" hasCustomPrompt="1"/>
          </p:nvPr>
        </p:nvSpPr>
        <p:spPr>
          <a:xfrm>
            <a:off x="9242788" y="3816720"/>
            <a:ext cx="2533775" cy="296307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1600" b="0" i="0">
                <a:solidFill>
                  <a:schemeClr val="bg2"/>
                </a:solidFill>
                <a:latin typeface="+mn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Subtitle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49" hasCustomPrompt="1"/>
          </p:nvPr>
        </p:nvSpPr>
        <p:spPr>
          <a:xfrm>
            <a:off x="9214820" y="4177788"/>
            <a:ext cx="2560321" cy="2141853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200" b="0" i="0">
                <a:solidFill>
                  <a:schemeClr val="bg2"/>
                </a:solidFill>
                <a:latin typeface="+mj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Profile Detai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B0123B-2E8C-4A4E-984D-DF0D179F20FF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2FF636-7DFB-874D-9CDE-B92224B122C5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75633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1C43564-6A2B-8240-A332-FF6C4397E7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7350" b="39402"/>
          <a:stretch/>
        </p:blipFill>
        <p:spPr>
          <a:xfrm>
            <a:off x="0" y="4851699"/>
            <a:ext cx="12192000" cy="1996136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7937" y="2200233"/>
            <a:ext cx="4538397" cy="3581401"/>
          </a:xfrm>
          <a:solidFill>
            <a:schemeClr val="bg2"/>
          </a:solidFill>
          <a:ln w="28575">
            <a:solidFill>
              <a:schemeClr val="accent3"/>
            </a:solidFill>
          </a:ln>
        </p:spPr>
        <p:txBody>
          <a:bodyPr lIns="180000" anchor="t" anchorCtr="0"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96216" y="2200233"/>
            <a:ext cx="4534930" cy="3581401"/>
          </a:xfrm>
          <a:solidFill>
            <a:schemeClr val="bg2"/>
          </a:solidFill>
          <a:ln w="28575">
            <a:solidFill>
              <a:schemeClr val="accent3"/>
            </a:solidFill>
          </a:ln>
        </p:spPr>
        <p:txBody>
          <a:bodyPr lIns="180000" anchor="t" anchorCtr="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object 9"/>
          <p:cNvSpPr/>
          <p:nvPr userDrawn="1"/>
        </p:nvSpPr>
        <p:spPr>
          <a:xfrm rot="2700000">
            <a:off x="5524759" y="3523367"/>
            <a:ext cx="954583" cy="1022878"/>
          </a:xfrm>
          <a:custGeom>
            <a:avLst/>
            <a:gdLst/>
            <a:ahLst/>
            <a:cxnLst/>
            <a:rect l="l" t="t" r="r" b="b"/>
            <a:pathLst>
              <a:path w="1180465" h="1264920">
                <a:moveTo>
                  <a:pt x="1092200" y="0"/>
                </a:moveTo>
                <a:lnTo>
                  <a:pt x="88061" y="0"/>
                </a:lnTo>
                <a:lnTo>
                  <a:pt x="53765" y="6913"/>
                </a:lnTo>
                <a:lnTo>
                  <a:pt x="25776" y="25774"/>
                </a:lnTo>
                <a:lnTo>
                  <a:pt x="6914" y="53760"/>
                </a:lnTo>
                <a:lnTo>
                  <a:pt x="0" y="88049"/>
                </a:lnTo>
                <a:lnTo>
                  <a:pt x="6914" y="122345"/>
                </a:lnTo>
                <a:lnTo>
                  <a:pt x="25776" y="150334"/>
                </a:lnTo>
                <a:lnTo>
                  <a:pt x="53765" y="169196"/>
                </a:lnTo>
                <a:lnTo>
                  <a:pt x="88061" y="176110"/>
                </a:lnTo>
                <a:lnTo>
                  <a:pt x="1004138" y="176110"/>
                </a:lnTo>
                <a:lnTo>
                  <a:pt x="1004138" y="1176464"/>
                </a:lnTo>
                <a:lnTo>
                  <a:pt x="1011054" y="1210760"/>
                </a:lnTo>
                <a:lnTo>
                  <a:pt x="1029919" y="1238750"/>
                </a:lnTo>
                <a:lnTo>
                  <a:pt x="1057909" y="1257612"/>
                </a:lnTo>
                <a:lnTo>
                  <a:pt x="1092200" y="1264526"/>
                </a:lnTo>
                <a:lnTo>
                  <a:pt x="1126490" y="1257612"/>
                </a:lnTo>
                <a:lnTo>
                  <a:pt x="1154480" y="1238750"/>
                </a:lnTo>
                <a:lnTo>
                  <a:pt x="1173345" y="1210760"/>
                </a:lnTo>
                <a:lnTo>
                  <a:pt x="1180261" y="1176464"/>
                </a:lnTo>
                <a:lnTo>
                  <a:pt x="1180261" y="88049"/>
                </a:lnTo>
                <a:lnTo>
                  <a:pt x="1173345" y="53760"/>
                </a:lnTo>
                <a:lnTo>
                  <a:pt x="1154480" y="25774"/>
                </a:lnTo>
                <a:lnTo>
                  <a:pt x="1126490" y="6913"/>
                </a:lnTo>
                <a:lnTo>
                  <a:pt x="109220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9"/>
          <p:cNvSpPr/>
          <p:nvPr userDrawn="1"/>
        </p:nvSpPr>
        <p:spPr>
          <a:xfrm rot="2700000">
            <a:off x="5092273" y="3523367"/>
            <a:ext cx="954583" cy="1022878"/>
          </a:xfrm>
          <a:custGeom>
            <a:avLst/>
            <a:gdLst/>
            <a:ahLst/>
            <a:cxnLst/>
            <a:rect l="l" t="t" r="r" b="b"/>
            <a:pathLst>
              <a:path w="1180465" h="1264920">
                <a:moveTo>
                  <a:pt x="1092200" y="0"/>
                </a:moveTo>
                <a:lnTo>
                  <a:pt x="88061" y="0"/>
                </a:lnTo>
                <a:lnTo>
                  <a:pt x="53765" y="6913"/>
                </a:lnTo>
                <a:lnTo>
                  <a:pt x="25776" y="25774"/>
                </a:lnTo>
                <a:lnTo>
                  <a:pt x="6914" y="53760"/>
                </a:lnTo>
                <a:lnTo>
                  <a:pt x="0" y="88049"/>
                </a:lnTo>
                <a:lnTo>
                  <a:pt x="6914" y="122345"/>
                </a:lnTo>
                <a:lnTo>
                  <a:pt x="25776" y="150334"/>
                </a:lnTo>
                <a:lnTo>
                  <a:pt x="53765" y="169196"/>
                </a:lnTo>
                <a:lnTo>
                  <a:pt x="88061" y="176110"/>
                </a:lnTo>
                <a:lnTo>
                  <a:pt x="1004138" y="176110"/>
                </a:lnTo>
                <a:lnTo>
                  <a:pt x="1004138" y="1176464"/>
                </a:lnTo>
                <a:lnTo>
                  <a:pt x="1011054" y="1210760"/>
                </a:lnTo>
                <a:lnTo>
                  <a:pt x="1029919" y="1238750"/>
                </a:lnTo>
                <a:lnTo>
                  <a:pt x="1057909" y="1257612"/>
                </a:lnTo>
                <a:lnTo>
                  <a:pt x="1092200" y="1264526"/>
                </a:lnTo>
                <a:lnTo>
                  <a:pt x="1126490" y="1257612"/>
                </a:lnTo>
                <a:lnTo>
                  <a:pt x="1154480" y="1238750"/>
                </a:lnTo>
                <a:lnTo>
                  <a:pt x="1173345" y="1210760"/>
                </a:lnTo>
                <a:lnTo>
                  <a:pt x="1180261" y="1176464"/>
                </a:lnTo>
                <a:lnTo>
                  <a:pt x="1180261" y="88049"/>
                </a:lnTo>
                <a:lnTo>
                  <a:pt x="1173345" y="53760"/>
                </a:lnTo>
                <a:lnTo>
                  <a:pt x="1154480" y="25774"/>
                </a:lnTo>
                <a:lnTo>
                  <a:pt x="1126490" y="6913"/>
                </a:lnTo>
                <a:lnTo>
                  <a:pt x="109220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Title 3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CEED90-A497-1641-9E59-A29C6AF4EC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F4EACA-55D0-C448-A833-1510F291249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3955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2F6E4FC-6256-314C-909E-60B8F18578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438041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50705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55600" y="3886200"/>
            <a:ext cx="11480800" cy="29718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601" y="142510"/>
            <a:ext cx="9789885" cy="486887"/>
          </a:xfrm>
        </p:spPr>
        <p:txBody>
          <a:bodyPr>
            <a:noAutofit/>
          </a:bodyPr>
          <a:lstStyle>
            <a:lvl1pPr>
              <a:defRPr sz="2133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56165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2F6A333-4961-5346-AB8D-E59E6F482F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0814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878351" y="1116282"/>
            <a:ext cx="4429699" cy="4432605"/>
          </a:xfrm>
          <a:prstGeom prst="ellipse">
            <a:avLst/>
          </a:prstGeom>
          <a:noFill/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56920B0-BE8A-324F-93D7-41470825B6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57058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017649" y="1918919"/>
            <a:ext cx="4558807" cy="36879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813737" y="1455870"/>
            <a:ext cx="4558807" cy="3687948"/>
          </a:xfrm>
          <a:solidFill>
            <a:schemeClr val="bg1">
              <a:lumMod val="8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576288C-F08E-FB4A-AAC2-552678CA4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18369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7B4EE4-21B0-9241-8DC6-763DDC939F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Espace réservé du texte 3">
            <a:extLst>
              <a:ext uri="{FF2B5EF4-FFF2-40B4-BE49-F238E27FC236}">
                <a16:creationId xmlns:a16="http://schemas.microsoft.com/office/drawing/2014/main" id="{566CB9F5-C5B7-DD4E-BF1E-679CCF4AF03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10024" y="1403349"/>
            <a:ext cx="8988059" cy="5034027"/>
          </a:xfrm>
        </p:spPr>
        <p:txBody>
          <a:bodyPr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Espace réservé du texte 2">
            <a:extLst>
              <a:ext uri="{FF2B5EF4-FFF2-40B4-BE49-F238E27FC236}">
                <a16:creationId xmlns:a16="http://schemas.microsoft.com/office/drawing/2014/main" id="{C1E27FC6-54AC-3244-A5DB-5834141302F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720" y="701675"/>
            <a:ext cx="11471363" cy="45085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spc="0" baseline="0">
                <a:latin typeface="+mj-lt"/>
                <a:ea typeface="Roboto Light" panose="020000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  <a:endParaRPr lang="en-US" dirty="0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560F90B3-C6CB-0D40-AA88-5FFD28C6FA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5813" y="6290968"/>
            <a:ext cx="1476188" cy="486833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lvl1pPr algn="r">
              <a:defRPr sz="1333">
                <a:solidFill>
                  <a:schemeClr val="tx1"/>
                </a:solidFill>
                <a:latin typeface="+mj-lt"/>
              </a:defRPr>
            </a:lvl1pPr>
          </a:lstStyle>
          <a:p>
            <a:pPr>
              <a:defRPr/>
            </a:pPr>
            <a:fld id="{C3F5280C-0EB1-42F5-A1B1-5524A582E68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14779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0"/>
            <a:ext cx="6743315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743314" y="0"/>
            <a:ext cx="5448687" cy="68580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D583A46-A8AE-5F4E-99B0-7229176A0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1677" y="0"/>
            <a:ext cx="6010655" cy="5852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0966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1" cy="3541487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883457" y="2031545"/>
            <a:ext cx="2409375" cy="1944915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3568599" y="2031545"/>
            <a:ext cx="2409375" cy="1944915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214030" y="2031545"/>
            <a:ext cx="2409375" cy="1944915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8899171" y="2031545"/>
            <a:ext cx="2409375" cy="1944915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4DE36CF-0D1B-E54E-B08E-BDFE48FBEA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8420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1-Title-Slide-Dark-Image-Q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859338-2EBA-CB4A-8B4D-655AB389FF81}"/>
              </a:ext>
            </a:extLst>
          </p:cNvPr>
          <p:cNvSpPr/>
          <p:nvPr userDrawn="1"/>
        </p:nvSpPr>
        <p:spPr>
          <a:xfrm>
            <a:off x="0" y="1072896"/>
            <a:ext cx="12192000" cy="5785104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8480" y="5570934"/>
            <a:ext cx="11214247" cy="467500"/>
          </a:xfrm>
          <a:ln w="6350">
            <a:noFill/>
          </a:ln>
        </p:spPr>
        <p:txBody>
          <a:bodyPr wrap="square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Franklin Gothic Book" panose="020B0503020102020204" pitchFamily="34" charset="0"/>
              <a:buNone/>
              <a:tabLst/>
              <a:defRPr sz="23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Your Name  I   Title Go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8480" y="4500880"/>
            <a:ext cx="11213783" cy="1070053"/>
          </a:xfrm>
          <a:noFill/>
        </p:spPr>
        <p:txBody>
          <a:bodyPr anchor="ctr" anchorCtr="0">
            <a:noAutofit/>
          </a:bodyPr>
          <a:lstStyle>
            <a:lvl1pPr algn="ctr">
              <a:defRPr sz="63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You Presentation Title Goes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81D5CC-1654-0447-B7D5-1C841CD2D3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7407B95-5F23-474A-A825-4EC2464BAB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153" y="6038850"/>
            <a:ext cx="11213110" cy="369835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bg2"/>
                </a:solidFill>
              </a:defRPr>
            </a:lvl1pPr>
          </a:lstStyle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ate  I   Plac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AC4C97C-7DE5-3A48-A08C-F6B636EDFF1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217006"/>
            <a:ext cx="12192000" cy="298720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grpSp>
        <p:nvGrpSpPr>
          <p:cNvPr id="14" name="Graphic 16">
            <a:extLst>
              <a:ext uri="{FF2B5EF4-FFF2-40B4-BE49-F238E27FC236}">
                <a16:creationId xmlns:a16="http://schemas.microsoft.com/office/drawing/2014/main" id="{D82F451F-E2C2-6F45-B9F9-D37B23A2DCA2}"/>
              </a:ext>
            </a:extLst>
          </p:cNvPr>
          <p:cNvGrpSpPr/>
          <p:nvPr/>
        </p:nvGrpSpPr>
        <p:grpSpPr>
          <a:xfrm>
            <a:off x="538480" y="-12608"/>
            <a:ext cx="695256" cy="927008"/>
            <a:chOff x="538480" y="-12608"/>
            <a:chExt cx="695256" cy="927008"/>
          </a:xfrm>
        </p:grpSpPr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5EA1735D-3FCD-B343-A4F0-6F8A42FAA54C}"/>
                </a:ext>
              </a:extLst>
            </p:cNvPr>
            <p:cNvSpPr/>
            <p:nvPr/>
          </p:nvSpPr>
          <p:spPr>
            <a:xfrm>
              <a:off x="538480" y="-12608"/>
              <a:ext cx="695256" cy="927008"/>
            </a:xfrm>
            <a:custGeom>
              <a:avLst/>
              <a:gdLst>
                <a:gd name="connsiteX0" fmla="*/ 0 w 695256"/>
                <a:gd name="connsiteY0" fmla="*/ 0 h 927008"/>
                <a:gd name="connsiteX1" fmla="*/ 695256 w 695256"/>
                <a:gd name="connsiteY1" fmla="*/ 0 h 927008"/>
                <a:gd name="connsiteX2" fmla="*/ 695256 w 695256"/>
                <a:gd name="connsiteY2" fmla="*/ 927008 h 927008"/>
                <a:gd name="connsiteX3" fmla="*/ 0 w 695256"/>
                <a:gd name="connsiteY3" fmla="*/ 927008 h 927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5256" h="927008">
                  <a:moveTo>
                    <a:pt x="0" y="0"/>
                  </a:moveTo>
                  <a:lnTo>
                    <a:pt x="695256" y="0"/>
                  </a:lnTo>
                  <a:lnTo>
                    <a:pt x="695256" y="927008"/>
                  </a:lnTo>
                  <a:lnTo>
                    <a:pt x="0" y="927008"/>
                  </a:lnTo>
                  <a:close/>
                </a:path>
              </a:pathLst>
            </a:custGeom>
            <a:solidFill>
              <a:srgbClr val="FF4200"/>
            </a:solidFill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F4D92768-C7BA-4541-911D-9DC78E43BFE4}"/>
                </a:ext>
              </a:extLst>
            </p:cNvPr>
            <p:cNvSpPr/>
            <p:nvPr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solidFill>
              <a:srgbClr val="FFFFFF"/>
            </a:solidFill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E615D089-97A7-524D-8B3C-90C7E5AE0EA3}"/>
                </a:ext>
              </a:extLst>
            </p:cNvPr>
            <p:cNvSpPr/>
            <p:nvPr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solidFill>
              <a:srgbClr val="FFFFFF"/>
            </a:solidFill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2" name="Graphic 21">
            <a:extLst>
              <a:ext uri="{FF2B5EF4-FFF2-40B4-BE49-F238E27FC236}">
                <a16:creationId xmlns:a16="http://schemas.microsoft.com/office/drawing/2014/main" id="{0E917E31-6CAD-9345-A2C8-3E69C75099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54594" y="153645"/>
            <a:ext cx="2983445" cy="745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0589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857583" y="1309689"/>
            <a:ext cx="1320496" cy="1321364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6613691" y="1309689"/>
            <a:ext cx="1320496" cy="1321364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Shape 30289"/>
          <p:cNvSpPr/>
          <p:nvPr userDrawn="1"/>
        </p:nvSpPr>
        <p:spPr>
          <a:xfrm>
            <a:off x="2322676" y="1418936"/>
            <a:ext cx="2935125" cy="20806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61" y="0"/>
                </a:moveTo>
                <a:cubicBezTo>
                  <a:pt x="1348" y="0"/>
                  <a:pt x="1257" y="124"/>
                  <a:pt x="1257" y="277"/>
                </a:cubicBezTo>
                <a:lnTo>
                  <a:pt x="1257" y="3580"/>
                </a:lnTo>
                <a:lnTo>
                  <a:pt x="0" y="4321"/>
                </a:lnTo>
                <a:lnTo>
                  <a:pt x="1257" y="5060"/>
                </a:lnTo>
                <a:lnTo>
                  <a:pt x="1257" y="21323"/>
                </a:lnTo>
                <a:cubicBezTo>
                  <a:pt x="1257" y="21476"/>
                  <a:pt x="1348" y="21600"/>
                  <a:pt x="1461" y="21600"/>
                </a:cubicBezTo>
                <a:lnTo>
                  <a:pt x="21396" y="21600"/>
                </a:lnTo>
                <a:cubicBezTo>
                  <a:pt x="21509" y="21600"/>
                  <a:pt x="21600" y="21476"/>
                  <a:pt x="21600" y="21323"/>
                </a:cubicBezTo>
                <a:lnTo>
                  <a:pt x="21600" y="277"/>
                </a:lnTo>
                <a:cubicBezTo>
                  <a:pt x="21600" y="124"/>
                  <a:pt x="21509" y="0"/>
                  <a:pt x="21396" y="0"/>
                </a:cubicBezTo>
                <a:lnTo>
                  <a:pt x="1461" y="0"/>
                </a:ln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tx2"/>
            </a:solidFill>
            <a:round/>
          </a:ln>
          <a:effectLst/>
        </p:spPr>
        <p:txBody>
          <a:bodyPr wrap="square" lIns="50800" tIns="50800" rIns="50800" bIns="50800" numCol="1" anchor="ctr">
            <a:noAutofit/>
          </a:bodyPr>
          <a:lstStyle/>
          <a:p>
            <a:pPr>
              <a:defRPr sz="3200">
                <a:solidFill>
                  <a:srgbClr val="FFFFFF"/>
                </a:solidFill>
              </a:defRPr>
            </a:pPr>
            <a:endParaRPr sz="3200" dirty="0"/>
          </a:p>
        </p:txBody>
      </p:sp>
      <p:sp>
        <p:nvSpPr>
          <p:cNvPr id="9" name="Shape 30289"/>
          <p:cNvSpPr/>
          <p:nvPr userDrawn="1"/>
        </p:nvSpPr>
        <p:spPr>
          <a:xfrm>
            <a:off x="8091298" y="1418936"/>
            <a:ext cx="2935125" cy="20806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61" y="0"/>
                </a:moveTo>
                <a:cubicBezTo>
                  <a:pt x="1348" y="0"/>
                  <a:pt x="1257" y="124"/>
                  <a:pt x="1257" y="277"/>
                </a:cubicBezTo>
                <a:lnTo>
                  <a:pt x="1257" y="3580"/>
                </a:lnTo>
                <a:lnTo>
                  <a:pt x="0" y="4321"/>
                </a:lnTo>
                <a:lnTo>
                  <a:pt x="1257" y="5060"/>
                </a:lnTo>
                <a:lnTo>
                  <a:pt x="1257" y="21323"/>
                </a:lnTo>
                <a:cubicBezTo>
                  <a:pt x="1257" y="21476"/>
                  <a:pt x="1348" y="21600"/>
                  <a:pt x="1461" y="21600"/>
                </a:cubicBezTo>
                <a:lnTo>
                  <a:pt x="21396" y="21600"/>
                </a:lnTo>
                <a:cubicBezTo>
                  <a:pt x="21509" y="21600"/>
                  <a:pt x="21600" y="21476"/>
                  <a:pt x="21600" y="21323"/>
                </a:cubicBezTo>
                <a:lnTo>
                  <a:pt x="21600" y="277"/>
                </a:lnTo>
                <a:cubicBezTo>
                  <a:pt x="21600" y="124"/>
                  <a:pt x="21509" y="0"/>
                  <a:pt x="21396" y="0"/>
                </a:cubicBezTo>
                <a:lnTo>
                  <a:pt x="1461" y="0"/>
                </a:ln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tx2"/>
            </a:solidFill>
            <a:round/>
          </a:ln>
          <a:effectLst/>
        </p:spPr>
        <p:txBody>
          <a:bodyPr wrap="square" lIns="50800" tIns="50800" rIns="50800" bIns="50800" numCol="1" anchor="ctr">
            <a:noAutofit/>
          </a:bodyPr>
          <a:lstStyle/>
          <a:p>
            <a:pPr>
              <a:defRPr sz="3200">
                <a:solidFill>
                  <a:srgbClr val="FFFFFF"/>
                </a:solidFill>
              </a:defRPr>
            </a:pPr>
            <a:endParaRPr sz="3200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F8589C4-045D-4D4E-932D-38EB3D5EB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69712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079502" y="1273998"/>
            <a:ext cx="2387599" cy="1384023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739922" y="1273998"/>
            <a:ext cx="2387599" cy="1384023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8448323" y="1273998"/>
            <a:ext cx="2387599" cy="1384023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1079502" y="2658021"/>
            <a:ext cx="1219199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4739923" y="2658021"/>
            <a:ext cx="1219199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8448323" y="2658021"/>
            <a:ext cx="1219199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74B266E-77F2-4D44-8D76-2FF27113C0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1753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327151" y="1673201"/>
            <a:ext cx="1524000" cy="1525003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3998383" y="1673201"/>
            <a:ext cx="1524000" cy="1525003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659547" y="1673201"/>
            <a:ext cx="1524000" cy="1525003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9358523" y="1673201"/>
            <a:ext cx="1524000" cy="1525003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Donut 6"/>
          <p:cNvSpPr>
            <a:spLocks noChangeAspect="1"/>
          </p:cNvSpPr>
          <p:nvPr userDrawn="1"/>
        </p:nvSpPr>
        <p:spPr>
          <a:xfrm>
            <a:off x="1125981" y="1472536"/>
            <a:ext cx="1926340" cy="1926337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9" name="Donut 8"/>
          <p:cNvSpPr>
            <a:spLocks noChangeAspect="1"/>
          </p:cNvSpPr>
          <p:nvPr userDrawn="1"/>
        </p:nvSpPr>
        <p:spPr>
          <a:xfrm>
            <a:off x="3797214" y="1472536"/>
            <a:ext cx="1926340" cy="1926337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12" name="Donut 11"/>
          <p:cNvSpPr>
            <a:spLocks noChangeAspect="1"/>
          </p:cNvSpPr>
          <p:nvPr userDrawn="1"/>
        </p:nvSpPr>
        <p:spPr>
          <a:xfrm>
            <a:off x="6468446" y="1472536"/>
            <a:ext cx="1926340" cy="1926337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14" name="Donut 13"/>
          <p:cNvSpPr>
            <a:spLocks noChangeAspect="1"/>
          </p:cNvSpPr>
          <p:nvPr userDrawn="1"/>
        </p:nvSpPr>
        <p:spPr>
          <a:xfrm>
            <a:off x="9139681" y="1472536"/>
            <a:ext cx="1926340" cy="1926337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01FF687-E4EB-BD44-B436-A450F90B67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194292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568105" y="1291783"/>
            <a:ext cx="3505201" cy="198844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6974061" y="3668784"/>
            <a:ext cx="3505201" cy="198844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5320540-0640-9249-B46A-5468A21D2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8323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514150" y="2918788"/>
            <a:ext cx="11163703" cy="2943571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48B7D29-0F44-A845-AE8E-E567C615F9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74787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3323771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C0F791D-FA80-064F-9EBB-BFCCF3FA3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0090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541836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4838701"/>
            <a:ext cx="12192000" cy="20193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1DBC453-6372-8A45-B6D6-4D95E05CA8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0611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64370" y="1771790"/>
            <a:ext cx="11067609" cy="4417095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9F7D651-2335-7C49-ACE0-7686726544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32851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64370" y="1393372"/>
            <a:ext cx="2572317" cy="48768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7445830" y="1393372"/>
            <a:ext cx="4286149" cy="2361059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7445830" y="3909113"/>
            <a:ext cx="4286149" cy="2361059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6E48AA9-6923-E344-8B18-6F227837CC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9359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-Q-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12" y="1778884"/>
            <a:ext cx="5009661" cy="4072977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94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AC9405E-0C15-6849-83EF-1585DCFF757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D47FFF-2E4B-D84B-AEFB-7CC7B5ED33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F0AE794-C4E5-B44E-9B79-0FDCFEDDAE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444" y="136525"/>
            <a:ext cx="10125795" cy="85783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7816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3561347" y="2"/>
            <a:ext cx="2627704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286909" y="1"/>
            <a:ext cx="3179525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9564292" y="1"/>
            <a:ext cx="2627709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9564292" y="4593773"/>
            <a:ext cx="2627709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3561347" y="4593773"/>
            <a:ext cx="2627704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86909" y="4593773"/>
            <a:ext cx="3179525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5278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30987" y="2133599"/>
            <a:ext cx="1807415" cy="226423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10145487" y="2133599"/>
            <a:ext cx="1586492" cy="226423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968073" y="1712688"/>
            <a:ext cx="2436947" cy="268514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8128002" y="1712688"/>
            <a:ext cx="2266892" cy="268514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934691" y="1349829"/>
            <a:ext cx="4493583" cy="304800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/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84658E6-0108-EC4D-B35B-34D3E3AB39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60300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932543"/>
            <a:ext cx="4858695" cy="5051876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861255" y="932543"/>
            <a:ext cx="2450795" cy="2505724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7284591" y="932543"/>
            <a:ext cx="2450795" cy="2505724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9741205" y="932543"/>
            <a:ext cx="2450795" cy="2505724"/>
          </a:xfrm>
          <a:solidFill>
            <a:schemeClr val="bg1">
              <a:lumMod val="6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4849245" y="3438267"/>
            <a:ext cx="4891961" cy="2546152"/>
          </a:xfrm>
          <a:solidFill>
            <a:schemeClr val="bg1">
              <a:lumMod val="6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9737945" y="3438267"/>
            <a:ext cx="2459667" cy="25461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3246D3F-0E53-0749-88DF-F1A56C2687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252341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7802852" y="1764378"/>
            <a:ext cx="4033549" cy="3831771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0A44772-4C4E-814F-9A02-DBA3C58D5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18805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293762" y="1621760"/>
            <a:ext cx="9898239" cy="4155047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D096E94-AC74-614C-BCA7-E84027886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474640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" y="-1"/>
            <a:ext cx="12191999" cy="4580133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02267CD-FD4F-6142-8C07-BB91FD691B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443211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1985607"/>
            <a:ext cx="4190459" cy="3425691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8DBFF28-2BA5-344B-A38A-9CB3CA4D25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953464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4970196" cy="68580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9164C90-B40C-C54B-911D-10F1C2802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4369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4127501"/>
            <a:ext cx="12192000" cy="27305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7" name="04_Tablet_Black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043339" y="691127"/>
            <a:ext cx="4105325" cy="5475167"/>
          </a:xfrm>
          <a:prstGeom prst="rect">
            <a:avLst/>
          </a:prstGeom>
        </p:spPr>
      </p:pic>
      <p:sp>
        <p:nvSpPr>
          <p:cNvPr id="1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462231" y="1178837"/>
            <a:ext cx="3258893" cy="4329785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70A6FA1-EC0A-CE44-B420-9EF82BACE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137470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171699" y="256896"/>
            <a:ext cx="8452440" cy="5962411"/>
          </a:xfrm>
          <a:prstGeom prst="rect">
            <a:avLst/>
          </a:prstGeom>
        </p:spPr>
      </p:pic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5078738" y="910125"/>
            <a:ext cx="4751681" cy="4296876"/>
          </a:xfrm>
          <a:custGeom>
            <a:avLst/>
            <a:gdLst>
              <a:gd name="connsiteX0" fmla="*/ 0 w 4708501"/>
              <a:gd name="connsiteY0" fmla="*/ 0 h 3560276"/>
              <a:gd name="connsiteX1" fmla="*/ 4708501 w 4708501"/>
              <a:gd name="connsiteY1" fmla="*/ 0 h 3560276"/>
              <a:gd name="connsiteX2" fmla="*/ 4708501 w 4708501"/>
              <a:gd name="connsiteY2" fmla="*/ 3560276 h 3560276"/>
              <a:gd name="connsiteX3" fmla="*/ 0 w 4708501"/>
              <a:gd name="connsiteY3" fmla="*/ 3560276 h 3560276"/>
              <a:gd name="connsiteX4" fmla="*/ 0 w 4708501"/>
              <a:gd name="connsiteY4" fmla="*/ 0 h 3560276"/>
              <a:gd name="connsiteX0" fmla="*/ 0 w 4708501"/>
              <a:gd name="connsiteY0" fmla="*/ 0 h 4296876"/>
              <a:gd name="connsiteX1" fmla="*/ 4708501 w 4708501"/>
              <a:gd name="connsiteY1" fmla="*/ 0 h 4296876"/>
              <a:gd name="connsiteX2" fmla="*/ 1558901 w 4708501"/>
              <a:gd name="connsiteY2" fmla="*/ 4296876 h 4296876"/>
              <a:gd name="connsiteX3" fmla="*/ 0 w 4708501"/>
              <a:gd name="connsiteY3" fmla="*/ 3560276 h 4296876"/>
              <a:gd name="connsiteX4" fmla="*/ 0 w 4708501"/>
              <a:gd name="connsiteY4" fmla="*/ 0 h 4296876"/>
              <a:gd name="connsiteX0" fmla="*/ 12700 w 4721201"/>
              <a:gd name="connsiteY0" fmla="*/ 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12700 w 4721201"/>
              <a:gd name="connsiteY4" fmla="*/ 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33980 w 4751681"/>
              <a:gd name="connsiteY0" fmla="*/ 88900 h 4296876"/>
              <a:gd name="connsiteX1" fmla="*/ 4751681 w 4751681"/>
              <a:gd name="connsiteY1" fmla="*/ 0 h 4296876"/>
              <a:gd name="connsiteX2" fmla="*/ 1602081 w 4751681"/>
              <a:gd name="connsiteY2" fmla="*/ 4296876 h 4296876"/>
              <a:gd name="connsiteX3" fmla="*/ 0 w 4751681"/>
              <a:gd name="connsiteY3" fmla="*/ 3611076 h 4296876"/>
              <a:gd name="connsiteX4" fmla="*/ 2633980 w 4751681"/>
              <a:gd name="connsiteY4" fmla="*/ 88900 h 4296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51681" h="4296876">
                <a:moveTo>
                  <a:pt x="2633980" y="88900"/>
                </a:moveTo>
                <a:cubicBezTo>
                  <a:pt x="2692180" y="97367"/>
                  <a:pt x="4045781" y="29633"/>
                  <a:pt x="4751681" y="0"/>
                </a:cubicBezTo>
                <a:lnTo>
                  <a:pt x="1602081" y="4296876"/>
                </a:lnTo>
                <a:lnTo>
                  <a:pt x="0" y="3611076"/>
                </a:lnTo>
                <a:cubicBezTo>
                  <a:pt x="11853" y="3588484"/>
                  <a:pt x="2642447" y="98792"/>
                  <a:pt x="2633980" y="8890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4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3EA1D41-8AE6-9D46-8A52-C4997D17FE10}"/>
              </a:ext>
            </a:extLst>
          </p:cNvPr>
          <p:cNvSpPr txBox="1">
            <a:spLocks/>
          </p:cNvSpPr>
          <p:nvPr userDrawn="1"/>
        </p:nvSpPr>
        <p:spPr>
          <a:xfrm>
            <a:off x="426721" y="1767840"/>
            <a:ext cx="9643872" cy="701675"/>
          </a:xfrm>
          <a:prstGeom prst="rect">
            <a:avLst/>
          </a:prstGeom>
        </p:spPr>
        <p:txBody>
          <a:bodyPr vert="horz" lIns="121893" tIns="60947" rIns="121893" bIns="60947" rtlCol="0" anchor="ctr">
            <a:normAutofit/>
          </a:bodyPr>
          <a:lstStyle>
            <a:lvl1pPr algn="l" defTabSz="68561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133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888964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9422B5D-3BAF-6544-8738-AA535FF9071D}"/>
              </a:ext>
            </a:extLst>
          </p:cNvPr>
          <p:cNvSpPr/>
          <p:nvPr userDrawn="1"/>
        </p:nvSpPr>
        <p:spPr>
          <a:xfrm>
            <a:off x="-18628" y="-8890"/>
            <a:ext cx="712694" cy="68624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04205" y="18256"/>
            <a:ext cx="8961458" cy="9083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1304205" y="1147744"/>
            <a:ext cx="10887795" cy="52362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743ACF9D-BF13-8544-8750-7C155177DD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28B9AE-A9F7-BE47-9AC4-A882E7B842D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287610" y="6488430"/>
            <a:ext cx="4114800" cy="365125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594A9A9-20B8-424D-BDD7-4B684606C5BF}"/>
              </a:ext>
            </a:extLst>
          </p:cNvPr>
          <p:cNvGrpSpPr/>
          <p:nvPr userDrawn="1"/>
        </p:nvGrpSpPr>
        <p:grpSpPr>
          <a:xfrm>
            <a:off x="-365041" y="2426208"/>
            <a:ext cx="1281303" cy="1281303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AF00F97-D237-3A4C-9F2D-2540E8F5DDA1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3BA5132C-6CD2-8E48-8F22-83E9133B62B1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6132312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03_Tablet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4662" y="1636066"/>
            <a:ext cx="5489231" cy="4031765"/>
          </a:xfrm>
          <a:prstGeom prst="rect">
            <a:avLst/>
          </a:prstGeom>
        </p:spPr>
      </p:pic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5962334" y="1821055"/>
            <a:ext cx="4637929" cy="3615996"/>
          </a:xfrm>
          <a:custGeom>
            <a:avLst/>
            <a:gdLst>
              <a:gd name="connsiteX0" fmla="*/ 0 w 4263279"/>
              <a:gd name="connsiteY0" fmla="*/ 0 h 2396796"/>
              <a:gd name="connsiteX1" fmla="*/ 4263279 w 4263279"/>
              <a:gd name="connsiteY1" fmla="*/ 0 h 2396796"/>
              <a:gd name="connsiteX2" fmla="*/ 4263279 w 4263279"/>
              <a:gd name="connsiteY2" fmla="*/ 2396796 h 2396796"/>
              <a:gd name="connsiteX3" fmla="*/ 0 w 4263279"/>
              <a:gd name="connsiteY3" fmla="*/ 2396796 h 2396796"/>
              <a:gd name="connsiteX4" fmla="*/ 0 w 4263279"/>
              <a:gd name="connsiteY4" fmla="*/ 0 h 2396796"/>
              <a:gd name="connsiteX0" fmla="*/ 0 w 4466479"/>
              <a:gd name="connsiteY0" fmla="*/ 319314 h 2396796"/>
              <a:gd name="connsiteX1" fmla="*/ 4466479 w 4466479"/>
              <a:gd name="connsiteY1" fmla="*/ 0 h 2396796"/>
              <a:gd name="connsiteX2" fmla="*/ 4466479 w 4466479"/>
              <a:gd name="connsiteY2" fmla="*/ 2396796 h 2396796"/>
              <a:gd name="connsiteX3" fmla="*/ 203200 w 4466479"/>
              <a:gd name="connsiteY3" fmla="*/ 2396796 h 2396796"/>
              <a:gd name="connsiteX4" fmla="*/ 0 w 4466479"/>
              <a:gd name="connsiteY4" fmla="*/ 319314 h 2396796"/>
              <a:gd name="connsiteX0" fmla="*/ 0 w 4466479"/>
              <a:gd name="connsiteY0" fmla="*/ 328839 h 2406321"/>
              <a:gd name="connsiteX1" fmla="*/ 4418854 w 4466479"/>
              <a:gd name="connsiteY1" fmla="*/ 0 h 2406321"/>
              <a:gd name="connsiteX2" fmla="*/ 4466479 w 4466479"/>
              <a:gd name="connsiteY2" fmla="*/ 2406321 h 2406321"/>
              <a:gd name="connsiteX3" fmla="*/ 203200 w 4466479"/>
              <a:gd name="connsiteY3" fmla="*/ 2406321 h 2406321"/>
              <a:gd name="connsiteX4" fmla="*/ 0 w 4466479"/>
              <a:gd name="connsiteY4" fmla="*/ 328839 h 2406321"/>
              <a:gd name="connsiteX0" fmla="*/ 0 w 4647454"/>
              <a:gd name="connsiteY0" fmla="*/ 328839 h 3320721"/>
              <a:gd name="connsiteX1" fmla="*/ 4418854 w 4647454"/>
              <a:gd name="connsiteY1" fmla="*/ 0 h 3320721"/>
              <a:gd name="connsiteX2" fmla="*/ 4647454 w 4647454"/>
              <a:gd name="connsiteY2" fmla="*/ 3320721 h 3320721"/>
              <a:gd name="connsiteX3" fmla="*/ 203200 w 4647454"/>
              <a:gd name="connsiteY3" fmla="*/ 2406321 h 3320721"/>
              <a:gd name="connsiteX4" fmla="*/ 0 w 4647454"/>
              <a:gd name="connsiteY4" fmla="*/ 328839 h 3320721"/>
              <a:gd name="connsiteX0" fmla="*/ 0 w 4647454"/>
              <a:gd name="connsiteY0" fmla="*/ 328839 h 3654096"/>
              <a:gd name="connsiteX1" fmla="*/ 4418854 w 4647454"/>
              <a:gd name="connsiteY1" fmla="*/ 0 h 3654096"/>
              <a:gd name="connsiteX2" fmla="*/ 4647454 w 4647454"/>
              <a:gd name="connsiteY2" fmla="*/ 3320721 h 3654096"/>
              <a:gd name="connsiteX3" fmla="*/ 269875 w 4647454"/>
              <a:gd name="connsiteY3" fmla="*/ 3654096 h 3654096"/>
              <a:gd name="connsiteX4" fmla="*/ 0 w 4647454"/>
              <a:gd name="connsiteY4" fmla="*/ 328839 h 3654096"/>
              <a:gd name="connsiteX0" fmla="*/ 0 w 4647454"/>
              <a:gd name="connsiteY0" fmla="*/ 328839 h 3615996"/>
              <a:gd name="connsiteX1" fmla="*/ 4418854 w 4647454"/>
              <a:gd name="connsiteY1" fmla="*/ 0 h 3615996"/>
              <a:gd name="connsiteX2" fmla="*/ 4647454 w 4647454"/>
              <a:gd name="connsiteY2" fmla="*/ 3320721 h 3615996"/>
              <a:gd name="connsiteX3" fmla="*/ 250825 w 4647454"/>
              <a:gd name="connsiteY3" fmla="*/ 3615996 h 3615996"/>
              <a:gd name="connsiteX4" fmla="*/ 0 w 4647454"/>
              <a:gd name="connsiteY4" fmla="*/ 328839 h 3615996"/>
              <a:gd name="connsiteX0" fmla="*/ 0 w 4637929"/>
              <a:gd name="connsiteY0" fmla="*/ 338364 h 3615996"/>
              <a:gd name="connsiteX1" fmla="*/ 4409329 w 4637929"/>
              <a:gd name="connsiteY1" fmla="*/ 0 h 3615996"/>
              <a:gd name="connsiteX2" fmla="*/ 4637929 w 4637929"/>
              <a:gd name="connsiteY2" fmla="*/ 3320721 h 3615996"/>
              <a:gd name="connsiteX3" fmla="*/ 241300 w 4637929"/>
              <a:gd name="connsiteY3" fmla="*/ 3615996 h 3615996"/>
              <a:gd name="connsiteX4" fmla="*/ 0 w 4637929"/>
              <a:gd name="connsiteY4" fmla="*/ 338364 h 3615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37929" h="3615996">
                <a:moveTo>
                  <a:pt x="0" y="338364"/>
                </a:moveTo>
                <a:lnTo>
                  <a:pt x="4409329" y="0"/>
                </a:lnTo>
                <a:lnTo>
                  <a:pt x="4637929" y="3320721"/>
                </a:lnTo>
                <a:lnTo>
                  <a:pt x="241300" y="3615996"/>
                </a:lnTo>
                <a:lnTo>
                  <a:pt x="0" y="338364"/>
                </a:lnTo>
                <a:close/>
              </a:path>
            </a:pathLst>
          </a:custGeo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8F71922-C96D-2C4A-99A1-616174DF6F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483950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5254179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5254178"/>
            <a:ext cx="12192000" cy="4530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041" y="1728440"/>
            <a:ext cx="3333944" cy="1859795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40455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ou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laser&#10;&#10;Description automatically generated">
            <a:extLst>
              <a:ext uri="{FF2B5EF4-FFF2-40B4-BE49-F238E27FC236}">
                <a16:creationId xmlns:a16="http://schemas.microsoft.com/office/drawing/2014/main" id="{225328BF-ED85-1E4B-991F-0F7B6C7A43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344400" cy="6858000"/>
          </a:xfrm>
          <a:prstGeom prst="rect">
            <a:avLst/>
          </a:prstGeom>
        </p:spPr>
      </p:pic>
      <p:sp>
        <p:nvSpPr>
          <p:cNvPr id="37" name="Title 1"/>
          <p:cNvSpPr>
            <a:spLocks noGrp="1"/>
          </p:cNvSpPr>
          <p:nvPr>
            <p:ph type="title" hasCustomPrompt="1"/>
          </p:nvPr>
        </p:nvSpPr>
        <p:spPr>
          <a:xfrm>
            <a:off x="348073" y="478265"/>
            <a:ext cx="11495854" cy="4921909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ct val="100000"/>
              </a:lnSpc>
              <a:defRPr sz="4267" b="0" i="0">
                <a:solidFill>
                  <a:srgbClr val="FFFFFF"/>
                </a:solidFill>
                <a:effectLst>
                  <a:outerShdw sx="1000" sy="1000" algn="ctr" rotWithShape="0">
                    <a:srgbClr val="0066CC"/>
                  </a:outerShdw>
                </a:effectLst>
                <a:latin typeface="+mj-lt"/>
                <a:cs typeface="Calibri Regular" charset="0"/>
              </a:defRPr>
            </a:lvl1pPr>
          </a:lstStyle>
          <a:p>
            <a:r>
              <a:rPr lang="fr-CH" dirty="0"/>
              <a:t>Some qoute goes here.</a:t>
            </a:r>
            <a:endParaRPr lang="fr-FR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3CA929-6A75-9E48-9B24-21E70BDF746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BFAD68-4E98-6C4B-80C2-8EC1413881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FF471C-3952-2743-B6ED-21C4B3A363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35738" y="5553075"/>
            <a:ext cx="5248275" cy="403225"/>
          </a:xfrm>
        </p:spPr>
        <p:txBody>
          <a:bodyPr>
            <a:noAutofit/>
          </a:bodyPr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  <a:lvl2pPr algn="r">
              <a:defRPr sz="2400"/>
            </a:lvl2pPr>
            <a:lvl3pPr algn="r">
              <a:defRPr sz="2400"/>
            </a:lvl3pPr>
            <a:lvl4pPr algn="r">
              <a:defRPr sz="2400"/>
            </a:lvl4pPr>
            <a:lvl5pPr algn="r">
              <a:defRPr sz="2400"/>
            </a:lvl5pPr>
          </a:lstStyle>
          <a:p>
            <a:pPr lvl="0"/>
            <a:r>
              <a:rPr lang="en-US" dirty="0"/>
              <a:t>Name, dat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D359472-CCC8-604A-BF82-65AD5F78DD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35738" y="6010275"/>
            <a:ext cx="5248275" cy="403225"/>
          </a:xfrm>
        </p:spPr>
        <p:txBody>
          <a:bodyPr>
            <a:noAutofit/>
          </a:bodyPr>
          <a:lstStyle>
            <a:lvl1pPr marL="0" indent="0" algn="r">
              <a:buNone/>
              <a:defRPr sz="1800" i="1">
                <a:solidFill>
                  <a:schemeClr val="bg1"/>
                </a:solidFill>
              </a:defRPr>
            </a:lvl1pPr>
            <a:lvl2pPr algn="r">
              <a:defRPr sz="2400"/>
            </a:lvl2pPr>
            <a:lvl3pPr algn="r">
              <a:defRPr sz="2400"/>
            </a:lvl3pPr>
            <a:lvl4pPr algn="r">
              <a:defRPr sz="2400"/>
            </a:lvl4pPr>
            <a:lvl5pPr algn="r">
              <a:defRPr sz="2400"/>
            </a:lvl5pPr>
          </a:lstStyle>
          <a:p>
            <a:pPr lvl="0"/>
            <a:r>
              <a:rPr lang="en-US" dirty="0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19587863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estion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A0F3434-7BF0-BA43-A4E7-19CA0429C5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778"/>
          <a:stretch/>
        </p:blipFill>
        <p:spPr>
          <a:xfrm>
            <a:off x="0" y="-4445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185F05C-A148-634D-B42E-05E7B081B1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50000"/>
          </a:blip>
          <a:srcRect b="49109"/>
          <a:stretch/>
        </p:blipFill>
        <p:spPr>
          <a:xfrm>
            <a:off x="100990" y="2692728"/>
            <a:ext cx="5202530" cy="264758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-2" y="1440140"/>
            <a:ext cx="5303521" cy="1283369"/>
          </a:xfrm>
          <a:ln w="6350">
            <a:noFill/>
          </a:ln>
        </p:spPr>
        <p:txBody>
          <a:bodyPr anchor="b">
            <a:noAutofit/>
          </a:bodyPr>
          <a:lstStyle>
            <a:lvl1pPr algn="ctr">
              <a:lnSpc>
                <a:spcPct val="84000"/>
              </a:lnSpc>
              <a:defRPr sz="480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Question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E0A2B3-DE03-1843-923F-1520B36F1C8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559B65-AFEC-7F4C-BAF6-DDD87E760F4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74367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-Thank-you-Q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unset in the background&#10;&#10;Description automatically generated">
            <a:extLst>
              <a:ext uri="{FF2B5EF4-FFF2-40B4-BE49-F238E27FC236}">
                <a16:creationId xmlns:a16="http://schemas.microsoft.com/office/drawing/2014/main" id="{01838BE1-6D8E-D743-B5A2-5BD9E5CC4C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12187666" cy="6853556"/>
          </a:xfrm>
          <a:prstGeom prst="rect">
            <a:avLst/>
          </a:prstGeom>
        </p:spPr>
      </p:pic>
      <p:sp>
        <p:nvSpPr>
          <p:cNvPr id="37" name="Title 1"/>
          <p:cNvSpPr>
            <a:spLocks noGrp="1"/>
          </p:cNvSpPr>
          <p:nvPr>
            <p:ph type="title" hasCustomPrompt="1"/>
          </p:nvPr>
        </p:nvSpPr>
        <p:spPr>
          <a:xfrm>
            <a:off x="488241" y="1709495"/>
            <a:ext cx="3164360" cy="791023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defRPr sz="4267" b="1" i="0">
                <a:solidFill>
                  <a:schemeClr val="bg1"/>
                </a:solidFill>
                <a:effectLst>
                  <a:outerShdw sx="1000" sy="1000" algn="ctr" rotWithShape="0">
                    <a:srgbClr val="0066CC"/>
                  </a:outerShdw>
                </a:effectLst>
                <a:latin typeface="+mj-lt"/>
                <a:cs typeface="Calibri Regular" charset="0"/>
              </a:defRPr>
            </a:lvl1pPr>
          </a:lstStyle>
          <a:p>
            <a:r>
              <a:rPr lang="fr-CH" dirty="0"/>
              <a:t>Thank You!</a:t>
            </a:r>
            <a:endParaRPr lang="fr-FR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84182" y="2940198"/>
            <a:ext cx="5805145" cy="2566521"/>
          </a:xfrm>
          <a:prstGeom prst="rect">
            <a:avLst/>
          </a:prstGeom>
        </p:spPr>
        <p:txBody>
          <a:bodyPr lIns="0" tIns="0" rIns="0" bIns="0" numCol="1"/>
          <a:lstStyle>
            <a:lvl1pPr marL="0" indent="0">
              <a:buFont typeface="Wingdings" charset="2"/>
              <a:buNone/>
              <a:tabLst>
                <a:tab pos="2747365" algn="l"/>
              </a:tabLst>
              <a:defRPr sz="1867" b="0" i="0" baseline="0">
                <a:solidFill>
                  <a:schemeClr val="tx1"/>
                </a:solidFill>
                <a:latin typeface="+mj-lt"/>
                <a:cs typeface="Calibri Regular" charset="0"/>
              </a:defRPr>
            </a:lvl1pPr>
            <a:lvl2pPr marL="482588" indent="0">
              <a:buClr>
                <a:schemeClr val="tx1"/>
              </a:buClr>
              <a:buNone/>
              <a:defRPr sz="1867" b="0" i="0">
                <a:solidFill>
                  <a:schemeClr val="bg2"/>
                </a:solidFill>
                <a:latin typeface="+mj-lt"/>
                <a:cs typeface="Frutiger LT 45 Light"/>
              </a:defRPr>
            </a:lvl2pPr>
            <a:lvl3pPr marL="960943" indent="-361942">
              <a:buFont typeface="Arial" pitchFamily="34" charset="0"/>
              <a:buChar char="•"/>
              <a:defRPr sz="2133">
                <a:solidFill>
                  <a:schemeClr val="tx1">
                    <a:lumMod val="50000"/>
                  </a:schemeClr>
                </a:solidFill>
                <a:latin typeface="Calibri" pitchFamily="34" charset="0"/>
              </a:defRPr>
            </a:lvl3pPr>
            <a:lvl4pPr marL="1312301" indent="-353475">
              <a:buFont typeface="Arial" pitchFamily="34" charset="0"/>
              <a:buChar char="•"/>
              <a:tabLst/>
              <a:defRPr sz="1867">
                <a:solidFill>
                  <a:schemeClr val="tx1">
                    <a:lumMod val="50000"/>
                  </a:schemeClr>
                </a:solidFill>
                <a:latin typeface="Calibri" pitchFamily="34" charset="0"/>
              </a:defRPr>
            </a:lvl4pPr>
          </a:lstStyle>
          <a:p>
            <a:pPr lvl="0"/>
            <a:r>
              <a:rPr lang="fr-CH" dirty="0"/>
              <a:t>Put contact information here: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2466BFD-0F21-6848-95ED-5688B35CD1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8241" y="2940198"/>
            <a:ext cx="2546691" cy="256652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2E914B2-0716-0640-9454-DA3CA45A8B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CC8E6A-7031-B143-AB79-1F1DE78D91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282B3E8E-ECAC-DE44-83A2-569EA1B0A15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8241" y="503103"/>
            <a:ext cx="1976427" cy="494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30935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198" y="18256"/>
            <a:ext cx="9067802" cy="9083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839555" y="1168400"/>
            <a:ext cx="11176001" cy="5008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637A52F6-0937-6045-A6C1-D0F77FC60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EA91CF-AB95-D14A-A543-233C3F953C1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849658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200" y="18256"/>
            <a:ext cx="9067802" cy="9083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637A52F6-0937-6045-A6C1-D0F77FC60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EA91CF-AB95-D14A-A543-233C3F953C1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6" name="Groupe 94">
            <a:extLst>
              <a:ext uri="{FF2B5EF4-FFF2-40B4-BE49-F238E27FC236}">
                <a16:creationId xmlns:a16="http://schemas.microsoft.com/office/drawing/2014/main" id="{5CB17DFD-8D8B-9141-AF4E-88E5168B7D2F}"/>
              </a:ext>
            </a:extLst>
          </p:cNvPr>
          <p:cNvGrpSpPr/>
          <p:nvPr userDrawn="1"/>
        </p:nvGrpSpPr>
        <p:grpSpPr>
          <a:xfrm>
            <a:off x="304802" y="868991"/>
            <a:ext cx="6654709" cy="1970765"/>
            <a:chOff x="4226660" y="-936830"/>
            <a:chExt cx="4824536" cy="1486062"/>
          </a:xfrm>
        </p:grpSpPr>
        <p:sp>
          <p:nvSpPr>
            <p:cNvPr id="8" name="ZoneTexte 17">
              <a:extLst>
                <a:ext uri="{FF2B5EF4-FFF2-40B4-BE49-F238E27FC236}">
                  <a16:creationId xmlns:a16="http://schemas.microsoft.com/office/drawing/2014/main" id="{6E4DC36E-701D-9147-A68E-72FF547AF1E2}"/>
                </a:ext>
              </a:extLst>
            </p:cNvPr>
            <p:cNvSpPr txBox="1"/>
            <p:nvPr/>
          </p:nvSpPr>
          <p:spPr>
            <a:xfrm>
              <a:off x="4226660" y="-936830"/>
              <a:ext cx="4824536" cy="21716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 defTabSz="1219140">
                <a:defRPr/>
              </a:pPr>
              <a:r>
                <a:rPr lang="en-US" sz="1500" b="1" ker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ast month achievements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0032859-3AF9-854F-B19F-85D96D0AD30C}"/>
                </a:ext>
              </a:extLst>
            </p:cNvPr>
            <p:cNvSpPr/>
            <p:nvPr/>
          </p:nvSpPr>
          <p:spPr bwMode="auto">
            <a:xfrm>
              <a:off x="4226660" y="-720340"/>
              <a:ext cx="4824536" cy="126957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spcAft>
                  <a:spcPts val="267"/>
                </a:spcAft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en-AU" sz="1300">
                <a:solidFill>
                  <a:prstClr val="black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10" name="Groupe 95">
            <a:extLst>
              <a:ext uri="{FF2B5EF4-FFF2-40B4-BE49-F238E27FC236}">
                <a16:creationId xmlns:a16="http://schemas.microsoft.com/office/drawing/2014/main" id="{B8627CBF-3443-2B49-BA31-196A0F9EC799}"/>
              </a:ext>
            </a:extLst>
          </p:cNvPr>
          <p:cNvGrpSpPr/>
          <p:nvPr userDrawn="1"/>
        </p:nvGrpSpPr>
        <p:grpSpPr>
          <a:xfrm>
            <a:off x="304802" y="2915784"/>
            <a:ext cx="6654708" cy="1726199"/>
            <a:chOff x="4224368" y="-887413"/>
            <a:chExt cx="4794192" cy="1076338"/>
          </a:xfrm>
        </p:grpSpPr>
        <p:sp>
          <p:nvSpPr>
            <p:cNvPr id="11" name="ZoneTexte 20">
              <a:extLst>
                <a:ext uri="{FF2B5EF4-FFF2-40B4-BE49-F238E27FC236}">
                  <a16:creationId xmlns:a16="http://schemas.microsoft.com/office/drawing/2014/main" id="{358C8087-B7F4-F143-BD5F-7AC35E7A036C}"/>
                </a:ext>
              </a:extLst>
            </p:cNvPr>
            <p:cNvSpPr txBox="1"/>
            <p:nvPr/>
          </p:nvSpPr>
          <p:spPr>
            <a:xfrm>
              <a:off x="4226660" y="-887413"/>
              <a:ext cx="3237212" cy="17957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Key next steps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4470AC4-C26D-944E-A438-652B32438404}"/>
                </a:ext>
              </a:extLst>
            </p:cNvPr>
            <p:cNvSpPr/>
            <p:nvPr/>
          </p:nvSpPr>
          <p:spPr bwMode="auto">
            <a:xfrm>
              <a:off x="4224368" y="-709482"/>
              <a:ext cx="3234921" cy="897884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" name="ZoneTexte 22">
              <a:extLst>
                <a:ext uri="{FF2B5EF4-FFF2-40B4-BE49-F238E27FC236}">
                  <a16:creationId xmlns:a16="http://schemas.microsoft.com/office/drawing/2014/main" id="{9E7E3E2C-D632-6141-A941-D6A33A6DAFF4}"/>
                </a:ext>
              </a:extLst>
            </p:cNvPr>
            <p:cNvSpPr txBox="1"/>
            <p:nvPr/>
          </p:nvSpPr>
          <p:spPr>
            <a:xfrm>
              <a:off x="7459290" y="-887413"/>
              <a:ext cx="1559270" cy="179577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FF6500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arget Date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DEDC94C-29B8-5546-B157-E89A1ACD7FCA}"/>
                </a:ext>
              </a:extLst>
            </p:cNvPr>
            <p:cNvSpPr/>
            <p:nvPr/>
          </p:nvSpPr>
          <p:spPr bwMode="auto">
            <a:xfrm>
              <a:off x="7458828" y="-708958"/>
              <a:ext cx="1559270" cy="8978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FBF1559B-C240-6343-881D-718E502020E4}"/>
              </a:ext>
            </a:extLst>
          </p:cNvPr>
          <p:cNvSpPr/>
          <p:nvPr/>
        </p:nvSpPr>
        <p:spPr bwMode="auto">
          <a:xfrm>
            <a:off x="7152120" y="2755200"/>
            <a:ext cx="2400000" cy="1440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18000" bIns="18000" numCol="1" spcCol="108000" rtlCol="0" anchor="ctr" anchorCtr="0" compatLnSpc="1">
            <a:prstTxWarp prst="textNoShape">
              <a:avLst/>
            </a:prstTxWarp>
            <a:noAutofit/>
          </a:bodyPr>
          <a:lstStyle/>
          <a:p>
            <a:pPr marL="237055" indent="-237055">
              <a:lnSpc>
                <a:spcPct val="110000"/>
              </a:lnSpc>
              <a:spcBef>
                <a:spcPts val="400"/>
              </a:spcBef>
              <a:buClr>
                <a:srgbClr val="C00000"/>
              </a:buClr>
              <a:buSzPct val="110000"/>
              <a:buFont typeface="Arial" pitchFamily="34" charset="0"/>
              <a:buChar char="•"/>
              <a:tabLst>
                <a:tab pos="474109" algn="l"/>
                <a:tab pos="1653035" algn="l"/>
              </a:tabLst>
              <a:defRPr/>
            </a:pPr>
            <a:endParaRPr lang="nl-NL" sz="1300">
              <a:solidFill>
                <a:srgbClr val="3E282B"/>
              </a:solidFill>
              <a:latin typeface="Calibri" panose="020F0502020204030204" pitchFamily="34" charset="0"/>
              <a:cs typeface="Calibri" panose="020F0502020204030204" pitchFamily="34" charset="0"/>
              <a:sym typeface="Wingdings" pitchFamily="2" charset="2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3C1A21-7075-7545-99F8-5A90AB4D181E}"/>
              </a:ext>
            </a:extLst>
          </p:cNvPr>
          <p:cNvSpPr/>
          <p:nvPr/>
        </p:nvSpPr>
        <p:spPr bwMode="auto">
          <a:xfrm>
            <a:off x="9554907" y="2757309"/>
            <a:ext cx="2400000" cy="18908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18000" bIns="18000" numCol="1" spcCol="108000" rtlCol="0" anchor="ctr" anchorCtr="0" compatLnSpc="1">
            <a:prstTxWarp prst="textNoShape">
              <a:avLst/>
            </a:prstTxWarp>
            <a:noAutofit/>
          </a:bodyPr>
          <a:lstStyle/>
          <a:p>
            <a:pPr marL="237055" indent="-237055">
              <a:lnSpc>
                <a:spcPct val="110000"/>
              </a:lnSpc>
              <a:spcBef>
                <a:spcPts val="400"/>
              </a:spcBef>
              <a:buClr>
                <a:srgbClr val="C00000"/>
              </a:buClr>
              <a:buSzPct val="110000"/>
              <a:buFont typeface="Arial" pitchFamily="34" charset="0"/>
              <a:buChar char="•"/>
              <a:tabLst>
                <a:tab pos="474109" algn="l"/>
                <a:tab pos="1653035" algn="l"/>
              </a:tabLst>
              <a:defRPr/>
            </a:pPr>
            <a:endParaRPr lang="nl-NL" sz="1300">
              <a:solidFill>
                <a:srgbClr val="3E282B"/>
              </a:solidFill>
              <a:latin typeface="Calibri" panose="020F0502020204030204" pitchFamily="34" charset="0"/>
              <a:cs typeface="Calibri" panose="020F0502020204030204" pitchFamily="34" charset="0"/>
              <a:sym typeface="Wingdings" pitchFamily="2" charset="2"/>
            </a:endParaRPr>
          </a:p>
        </p:txBody>
      </p:sp>
      <p:sp>
        <p:nvSpPr>
          <p:cNvPr id="18" name="ZoneTexte 27">
            <a:extLst>
              <a:ext uri="{FF2B5EF4-FFF2-40B4-BE49-F238E27FC236}">
                <a16:creationId xmlns:a16="http://schemas.microsoft.com/office/drawing/2014/main" id="{437FB89A-EBDE-014D-9C0E-A69283D55702}"/>
              </a:ext>
            </a:extLst>
          </p:cNvPr>
          <p:cNvSpPr txBox="1"/>
          <p:nvPr/>
        </p:nvSpPr>
        <p:spPr>
          <a:xfrm>
            <a:off x="9554907" y="2471284"/>
            <a:ext cx="2400000" cy="288000"/>
          </a:xfrm>
          <a:prstGeom prst="rect">
            <a:avLst/>
          </a:prstGeom>
          <a:solidFill>
            <a:schemeClr val="accent2"/>
          </a:solidFill>
          <a:ln w="9525">
            <a:solidFill>
              <a:srgbClr val="0033CC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15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tion plan</a:t>
            </a:r>
          </a:p>
        </p:txBody>
      </p:sp>
      <p:sp>
        <p:nvSpPr>
          <p:cNvPr id="19" name="ZoneTexte 28">
            <a:extLst>
              <a:ext uri="{FF2B5EF4-FFF2-40B4-BE49-F238E27FC236}">
                <a16:creationId xmlns:a16="http://schemas.microsoft.com/office/drawing/2014/main" id="{D63B2126-AB8B-F74A-B2C1-43F895F4CEC8}"/>
              </a:ext>
            </a:extLst>
          </p:cNvPr>
          <p:cNvSpPr txBox="1"/>
          <p:nvPr/>
        </p:nvSpPr>
        <p:spPr>
          <a:xfrm>
            <a:off x="7152119" y="2471284"/>
            <a:ext cx="2400000" cy="288000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15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sks/Issues</a:t>
            </a:r>
          </a:p>
        </p:txBody>
      </p:sp>
      <p:grpSp>
        <p:nvGrpSpPr>
          <p:cNvPr id="21" name="Groupe 105">
            <a:extLst>
              <a:ext uri="{FF2B5EF4-FFF2-40B4-BE49-F238E27FC236}">
                <a16:creationId xmlns:a16="http://schemas.microsoft.com/office/drawing/2014/main" id="{71ED83B3-4FF9-7D48-B96D-DA45E85AF0FA}"/>
              </a:ext>
            </a:extLst>
          </p:cNvPr>
          <p:cNvGrpSpPr/>
          <p:nvPr/>
        </p:nvGrpSpPr>
        <p:grpSpPr>
          <a:xfrm>
            <a:off x="7139549" y="856291"/>
            <a:ext cx="2864065" cy="1539820"/>
            <a:chOff x="4226660" y="-888444"/>
            <a:chExt cx="5022115" cy="809403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609A9A1F-6A38-2C45-B9A8-3C1A078183CC}"/>
                </a:ext>
              </a:extLst>
            </p:cNvPr>
            <p:cNvSpPr/>
            <p:nvPr/>
          </p:nvSpPr>
          <p:spPr bwMode="auto">
            <a:xfrm>
              <a:off x="4226660" y="-738917"/>
              <a:ext cx="5022113" cy="219995"/>
            </a:xfrm>
            <a:prstGeom prst="rect">
              <a:avLst/>
            </a:prstGeom>
            <a:solidFill>
              <a:schemeClr val="bg2">
                <a:lumMod val="20000"/>
                <a:lumOff val="80000"/>
                <a:alpha val="44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None/>
                <a:tabLst>
                  <a:tab pos="474109" algn="l"/>
                  <a:tab pos="1653035" algn="l"/>
                </a:tabLst>
                <a:defRPr/>
              </a:pPr>
              <a:r>
                <a:rPr lang="nl-NL" sz="1300">
                  <a:solidFill>
                    <a:srgbClr val="3E282B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Wingdings" pitchFamily="2" charset="2"/>
                </a:rPr>
                <a:t>Budget</a:t>
              </a:r>
            </a:p>
          </p:txBody>
        </p:sp>
        <p:sp>
          <p:nvSpPr>
            <p:cNvPr id="24" name="ZoneTexte 37">
              <a:extLst>
                <a:ext uri="{FF2B5EF4-FFF2-40B4-BE49-F238E27FC236}">
                  <a16:creationId xmlns:a16="http://schemas.microsoft.com/office/drawing/2014/main" id="{12571410-93A7-A24C-903A-C33C835DECCA}"/>
                </a:ext>
              </a:extLst>
            </p:cNvPr>
            <p:cNvSpPr txBox="1"/>
            <p:nvPr/>
          </p:nvSpPr>
          <p:spPr>
            <a:xfrm>
              <a:off x="7689412" y="-888444"/>
              <a:ext cx="1559363" cy="15138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atus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5B2D3E8-6164-0445-8B92-B97F6AC9B4A3}"/>
                </a:ext>
              </a:extLst>
            </p:cNvPr>
            <p:cNvSpPr/>
            <p:nvPr/>
          </p:nvSpPr>
          <p:spPr bwMode="auto">
            <a:xfrm>
              <a:off x="4226660" y="-519529"/>
              <a:ext cx="5022113" cy="219995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None/>
                <a:tabLst>
                  <a:tab pos="182558" algn="l"/>
                  <a:tab pos="473063" algn="l"/>
                  <a:tab pos="1652547" algn="l"/>
                </a:tabLst>
                <a:defRPr/>
              </a:pPr>
              <a:r>
                <a:rPr lang="nl-NL" sz="1300" kern="1200">
                  <a:solidFill>
                    <a:srgbClr val="3E282B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itchFamily="2" charset="2"/>
                </a:rPr>
                <a:t>Planning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6FE344C-638A-4644-ABE8-0DDE5EDAE4B6}"/>
                </a:ext>
              </a:extLst>
            </p:cNvPr>
            <p:cNvSpPr/>
            <p:nvPr/>
          </p:nvSpPr>
          <p:spPr bwMode="auto">
            <a:xfrm>
              <a:off x="4226660" y="-299037"/>
              <a:ext cx="5022113" cy="219996"/>
            </a:xfrm>
            <a:prstGeom prst="rect">
              <a:avLst/>
            </a:prstGeom>
            <a:solidFill>
              <a:schemeClr val="bg2">
                <a:lumMod val="20000"/>
                <a:lumOff val="80000"/>
                <a:alpha val="45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None/>
                <a:tabLst>
                  <a:tab pos="474109" algn="l"/>
                  <a:tab pos="1653035" algn="l"/>
                </a:tabLst>
                <a:defRPr/>
              </a:pPr>
              <a:r>
                <a:rPr lang="nl-NL" sz="1300">
                  <a:solidFill>
                    <a:srgbClr val="3E282B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Wingdings" pitchFamily="2" charset="2"/>
                </a:rPr>
                <a:t>Scope</a:t>
              </a:r>
            </a:p>
          </p:txBody>
        </p:sp>
        <p:sp>
          <p:nvSpPr>
            <p:cNvPr id="27" name="ZoneTexte 40">
              <a:extLst>
                <a:ext uri="{FF2B5EF4-FFF2-40B4-BE49-F238E27FC236}">
                  <a16:creationId xmlns:a16="http://schemas.microsoft.com/office/drawing/2014/main" id="{237AE9FE-279D-6346-BD17-8B9AC8CE08C9}"/>
                </a:ext>
              </a:extLst>
            </p:cNvPr>
            <p:cNvSpPr txBox="1"/>
            <p:nvPr/>
          </p:nvSpPr>
          <p:spPr>
            <a:xfrm>
              <a:off x="4226660" y="-888444"/>
              <a:ext cx="3462751" cy="151387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roject metrics</a:t>
              </a:r>
            </a:p>
          </p:txBody>
        </p:sp>
      </p:grpSp>
      <p:cxnSp>
        <p:nvCxnSpPr>
          <p:cNvPr id="22" name="Connecteur droit 31">
            <a:extLst>
              <a:ext uri="{FF2B5EF4-FFF2-40B4-BE49-F238E27FC236}">
                <a16:creationId xmlns:a16="http://schemas.microsoft.com/office/drawing/2014/main" id="{709CDC95-81EB-5F40-B08A-2218AD6D4D25}"/>
              </a:ext>
            </a:extLst>
          </p:cNvPr>
          <p:cNvCxnSpPr/>
          <p:nvPr/>
        </p:nvCxnSpPr>
        <p:spPr>
          <a:xfrm>
            <a:off x="9114288" y="1168138"/>
            <a:ext cx="1" cy="117959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ZoneTexte 41">
            <a:extLst>
              <a:ext uri="{FF2B5EF4-FFF2-40B4-BE49-F238E27FC236}">
                <a16:creationId xmlns:a16="http://schemas.microsoft.com/office/drawing/2014/main" id="{00F0FEE8-EC95-6C4C-8DAC-822A087737DC}"/>
              </a:ext>
            </a:extLst>
          </p:cNvPr>
          <p:cNvSpPr txBox="1"/>
          <p:nvPr userDrawn="1"/>
        </p:nvSpPr>
        <p:spPr>
          <a:xfrm>
            <a:off x="304803" y="4732510"/>
            <a:ext cx="11684000" cy="27388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txBody>
          <a:bodyPr wrap="square" lIns="47999" tIns="60959" rIns="47999" bIns="60959" rtlCol="0" anchor="ctr" anchorCtr="0">
            <a:noAutofit/>
          </a:bodyPr>
          <a:lstStyle/>
          <a:p>
            <a:pPr algn="ctr"/>
            <a:r>
              <a:rPr lang="en-US" sz="1500" b="1">
                <a:ln>
                  <a:noFill/>
                </a:ln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nning/ Milestones</a:t>
            </a:r>
          </a:p>
        </p:txBody>
      </p:sp>
      <p:sp>
        <p:nvSpPr>
          <p:cNvPr id="30" name="ZoneTexte 47">
            <a:extLst>
              <a:ext uri="{FF2B5EF4-FFF2-40B4-BE49-F238E27FC236}">
                <a16:creationId xmlns:a16="http://schemas.microsoft.com/office/drawing/2014/main" id="{68161274-DAF8-274A-8070-736BDF370522}"/>
              </a:ext>
            </a:extLst>
          </p:cNvPr>
          <p:cNvSpPr txBox="1"/>
          <p:nvPr/>
        </p:nvSpPr>
        <p:spPr>
          <a:xfrm>
            <a:off x="10128453" y="856292"/>
            <a:ext cx="1824201" cy="288676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15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verall Statu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BBD71A6-0B16-7645-B8F7-C27429B42F01}"/>
              </a:ext>
            </a:extLst>
          </p:cNvPr>
          <p:cNvSpPr/>
          <p:nvPr/>
        </p:nvSpPr>
        <p:spPr bwMode="auto">
          <a:xfrm>
            <a:off x="10128455" y="1138366"/>
            <a:ext cx="1824000" cy="1247999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18000" bIns="18000" numCol="1" spcCol="108000" rtlCol="0" anchor="ctr" anchorCtr="0" compatLnSpc="1">
            <a:prstTxWarp prst="textNoShape">
              <a:avLst/>
            </a:prstTxWarp>
            <a:noAutofit/>
          </a:bodyPr>
          <a:lstStyle/>
          <a:p>
            <a:pPr marL="237055" indent="-237055">
              <a:lnSpc>
                <a:spcPct val="110000"/>
              </a:lnSpc>
              <a:spcBef>
                <a:spcPts val="400"/>
              </a:spcBef>
              <a:buClr>
                <a:srgbClr val="C00000"/>
              </a:buClr>
              <a:buSzPct val="110000"/>
              <a:tabLst>
                <a:tab pos="474109" algn="l"/>
                <a:tab pos="1653035" algn="l"/>
              </a:tabLst>
              <a:defRPr/>
            </a:pPr>
            <a:endParaRPr lang="nl-NL" sz="1300">
              <a:solidFill>
                <a:srgbClr val="3E282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2" name="Connecteur droit 49">
            <a:extLst>
              <a:ext uri="{FF2B5EF4-FFF2-40B4-BE49-F238E27FC236}">
                <a16:creationId xmlns:a16="http://schemas.microsoft.com/office/drawing/2014/main" id="{8C3BEDC9-61F9-5446-A891-DBD4E7E3C858}"/>
              </a:ext>
            </a:extLst>
          </p:cNvPr>
          <p:cNvCxnSpPr/>
          <p:nvPr userDrawn="1"/>
        </p:nvCxnSpPr>
        <p:spPr>
          <a:xfrm>
            <a:off x="10992544" y="1256310"/>
            <a:ext cx="0" cy="10111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ZoneTexte 34">
            <a:extLst>
              <a:ext uri="{FF2B5EF4-FFF2-40B4-BE49-F238E27FC236}">
                <a16:creationId xmlns:a16="http://schemas.microsoft.com/office/drawing/2014/main" id="{EABF5CA2-9084-454A-8775-2C850DE57F0D}"/>
              </a:ext>
            </a:extLst>
          </p:cNvPr>
          <p:cNvSpPr txBox="1"/>
          <p:nvPr userDrawn="1"/>
        </p:nvSpPr>
        <p:spPr>
          <a:xfrm>
            <a:off x="10138649" y="2186286"/>
            <a:ext cx="886689" cy="12311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/>
          <a:p>
            <a:pPr algn="ctr" defTabSz="609570" fontAlgn="base">
              <a:spcBef>
                <a:spcPct val="0"/>
              </a:spcBef>
              <a:spcAft>
                <a:spcPct val="0"/>
              </a:spcAft>
            </a:pPr>
            <a:r>
              <a:rPr lang="fr-FR" sz="80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Vs. Last </a:t>
            </a:r>
            <a:r>
              <a:rPr lang="fr-FR" sz="800" err="1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month</a:t>
            </a:r>
            <a:endParaRPr lang="fr-FR" sz="80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34" name="ZoneTexte 35">
            <a:extLst>
              <a:ext uri="{FF2B5EF4-FFF2-40B4-BE49-F238E27FC236}">
                <a16:creationId xmlns:a16="http://schemas.microsoft.com/office/drawing/2014/main" id="{23905F17-3A70-F14D-A955-272D3FED6A4F}"/>
              </a:ext>
            </a:extLst>
          </p:cNvPr>
          <p:cNvSpPr txBox="1"/>
          <p:nvPr userDrawn="1"/>
        </p:nvSpPr>
        <p:spPr>
          <a:xfrm>
            <a:off x="10274311" y="1560681"/>
            <a:ext cx="559947" cy="12311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/>
          <a:p>
            <a:pPr algn="ctr" defTabSz="609570" fontAlgn="base">
              <a:spcBef>
                <a:spcPct val="0"/>
              </a:spcBef>
              <a:spcAft>
                <a:spcPct val="0"/>
              </a:spcAft>
            </a:pPr>
            <a:r>
              <a:rPr lang="fr-FR" sz="800" err="1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Current</a:t>
            </a:r>
            <a:endParaRPr lang="fr-FR" sz="90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35" name="ZoneTexte 42">
            <a:extLst>
              <a:ext uri="{FF2B5EF4-FFF2-40B4-BE49-F238E27FC236}">
                <a16:creationId xmlns:a16="http://schemas.microsoft.com/office/drawing/2014/main" id="{FD938F6A-F287-8B4F-A7DB-5B6C97864164}"/>
              </a:ext>
            </a:extLst>
          </p:cNvPr>
          <p:cNvSpPr txBox="1"/>
          <p:nvPr userDrawn="1"/>
        </p:nvSpPr>
        <p:spPr>
          <a:xfrm>
            <a:off x="11092191" y="1947411"/>
            <a:ext cx="769763" cy="24622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>
            <a:defPPr>
              <a:defRPr lang="fr-FR"/>
            </a:defPPr>
            <a:lvl1pPr algn="ctr" defTabSz="609585" fontAlgn="base">
              <a:spcBef>
                <a:spcPct val="0"/>
              </a:spcBef>
              <a:spcAft>
                <a:spcPct val="0"/>
              </a:spcAft>
              <a:defRPr sz="800">
                <a:solidFill>
                  <a:prstClr val="black">
                    <a:lumMod val="65000"/>
                    <a:lumOff val="35000"/>
                  </a:prstClr>
                </a:solidFill>
                <a:ea typeface="MS PGothic" charset="0"/>
              </a:defRPr>
            </a:lvl1pPr>
          </a:lstStyle>
          <a:p>
            <a:r>
              <a:rPr lang="fr-FR" sz="800">
                <a:latin typeface="Calibri" panose="020F0502020204030204" pitchFamily="34" charset="0"/>
                <a:cs typeface="Calibri" panose="020F0502020204030204" pitchFamily="34" charset="0"/>
              </a:rPr>
              <a:t>Project</a:t>
            </a:r>
          </a:p>
          <a:p>
            <a:r>
              <a:rPr lang="fr-FR" sz="800" err="1">
                <a:latin typeface="Calibri" panose="020F0502020204030204" pitchFamily="34" charset="0"/>
                <a:cs typeface="Calibri" panose="020F0502020204030204" pitchFamily="34" charset="0"/>
              </a:rPr>
              <a:t>Completion</a:t>
            </a:r>
            <a:endParaRPr lang="fr-FR" sz="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18914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laser&#10;&#10;Description automatically generated">
            <a:extLst>
              <a:ext uri="{FF2B5EF4-FFF2-40B4-BE49-F238E27FC236}">
                <a16:creationId xmlns:a16="http://schemas.microsoft.com/office/drawing/2014/main" id="{F31B552C-21A9-484C-BB92-40D8374055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344400" cy="6858000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9810A2B6-9F7E-084F-A4D7-F1688672C30C}"/>
              </a:ext>
            </a:extLst>
          </p:cNvPr>
          <p:cNvGrpSpPr/>
          <p:nvPr userDrawn="1"/>
        </p:nvGrpSpPr>
        <p:grpSpPr>
          <a:xfrm>
            <a:off x="1810757" y="1533830"/>
            <a:ext cx="4960973" cy="4960973"/>
            <a:chOff x="625387" y="306051"/>
            <a:chExt cx="521442" cy="521442"/>
          </a:xfrm>
          <a:solidFill>
            <a:srgbClr val="FFFFFF">
              <a:alpha val="11000"/>
            </a:srgbClr>
          </a:solidFill>
        </p:grpSpPr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B44F8206-CBFD-9041-83F0-2F7E6CDEC0CF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25906098-CFAC-B243-8A16-1806BF361756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532120" y="0"/>
            <a:ext cx="6812280" cy="6857999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5303520" y="376"/>
            <a:ext cx="2286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63807-9A2E-9E40-B1EF-82F486DE4D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5E06E-05A2-224F-B7CA-8483B049DE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83565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F384F66B-93F6-694C-ACD2-06495EB225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778"/>
          <a:stretch/>
        </p:blipFill>
        <p:spPr>
          <a:xfrm>
            <a:off x="0" y="-4445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532120" y="0"/>
            <a:ext cx="6812280" cy="6857999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5303520" y="376"/>
            <a:ext cx="2286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63807-9A2E-9E40-B1EF-82F486DE4D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5E06E-05A2-224F-B7CA-8483B049DE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6004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ROJECT STA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94"/>
          <p:cNvGrpSpPr/>
          <p:nvPr userDrawn="1"/>
        </p:nvGrpSpPr>
        <p:grpSpPr>
          <a:xfrm>
            <a:off x="304802" y="868991"/>
            <a:ext cx="6654709" cy="1970765"/>
            <a:chOff x="4226660" y="-936830"/>
            <a:chExt cx="4824536" cy="1486062"/>
          </a:xfrm>
        </p:grpSpPr>
        <p:sp>
          <p:nvSpPr>
            <p:cNvPr id="18" name="ZoneTexte 17"/>
            <p:cNvSpPr txBox="1"/>
            <p:nvPr/>
          </p:nvSpPr>
          <p:spPr>
            <a:xfrm>
              <a:off x="4226660" y="-936830"/>
              <a:ext cx="4824536" cy="21716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 defTabSz="1219140">
                <a:defRPr/>
              </a:pPr>
              <a:r>
                <a:rPr lang="en-US" sz="1500" b="1" ker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ast month achievements</a:t>
              </a:r>
            </a:p>
          </p:txBody>
        </p:sp>
        <p:sp>
          <p:nvSpPr>
            <p:cNvPr id="19" name="Rectangle 18"/>
            <p:cNvSpPr/>
            <p:nvPr/>
          </p:nvSpPr>
          <p:spPr bwMode="auto">
            <a:xfrm>
              <a:off x="4226660" y="-720340"/>
              <a:ext cx="4824536" cy="126957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spcAft>
                  <a:spcPts val="267"/>
                </a:spcAft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en-AU" sz="1300">
                <a:solidFill>
                  <a:prstClr val="black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4" name="Groupe 95"/>
          <p:cNvGrpSpPr/>
          <p:nvPr userDrawn="1"/>
        </p:nvGrpSpPr>
        <p:grpSpPr>
          <a:xfrm>
            <a:off x="304802" y="2915784"/>
            <a:ext cx="6654708" cy="1726199"/>
            <a:chOff x="4224368" y="-887413"/>
            <a:chExt cx="4794192" cy="1076338"/>
          </a:xfrm>
        </p:grpSpPr>
        <p:sp>
          <p:nvSpPr>
            <p:cNvPr id="21" name="ZoneTexte 20"/>
            <p:cNvSpPr txBox="1"/>
            <p:nvPr/>
          </p:nvSpPr>
          <p:spPr>
            <a:xfrm>
              <a:off x="4226660" y="-887413"/>
              <a:ext cx="3237212" cy="17957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Key next steps</a:t>
              </a:r>
            </a:p>
          </p:txBody>
        </p:sp>
        <p:sp>
          <p:nvSpPr>
            <p:cNvPr id="22" name="Rectangle 21"/>
            <p:cNvSpPr/>
            <p:nvPr/>
          </p:nvSpPr>
          <p:spPr bwMode="auto">
            <a:xfrm>
              <a:off x="4224368" y="-709482"/>
              <a:ext cx="3234921" cy="897884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" name="ZoneTexte 22"/>
            <p:cNvSpPr txBox="1"/>
            <p:nvPr/>
          </p:nvSpPr>
          <p:spPr>
            <a:xfrm>
              <a:off x="7459290" y="-887413"/>
              <a:ext cx="1559270" cy="179577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FF6500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arget Date</a:t>
              </a:r>
            </a:p>
          </p:txBody>
        </p:sp>
        <p:sp>
          <p:nvSpPr>
            <p:cNvPr id="24" name="Rectangle 23"/>
            <p:cNvSpPr/>
            <p:nvPr/>
          </p:nvSpPr>
          <p:spPr bwMode="auto">
            <a:xfrm>
              <a:off x="7458828" y="-708958"/>
              <a:ext cx="1559270" cy="8978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5" name="Groupe 98"/>
          <p:cNvGrpSpPr/>
          <p:nvPr userDrawn="1"/>
        </p:nvGrpSpPr>
        <p:grpSpPr>
          <a:xfrm>
            <a:off x="7152119" y="2471284"/>
            <a:ext cx="4802788" cy="2176917"/>
            <a:chOff x="4250685" y="-946195"/>
            <a:chExt cx="4827338" cy="1632688"/>
          </a:xfrm>
        </p:grpSpPr>
        <p:sp>
          <p:nvSpPr>
            <p:cNvPr id="26" name="Rectangle 25"/>
            <p:cNvSpPr/>
            <p:nvPr/>
          </p:nvSpPr>
          <p:spPr bwMode="auto">
            <a:xfrm>
              <a:off x="4250686" y="-733258"/>
              <a:ext cx="2412268" cy="1080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itchFamily="2" charset="2"/>
              </a:endParaRPr>
            </a:p>
          </p:txBody>
        </p:sp>
        <p:sp>
          <p:nvSpPr>
            <p:cNvPr id="27" name="Rectangle 26"/>
            <p:cNvSpPr/>
            <p:nvPr/>
          </p:nvSpPr>
          <p:spPr bwMode="auto">
            <a:xfrm>
              <a:off x="6665755" y="-731676"/>
              <a:ext cx="2412268" cy="141816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itchFamily="2" charset="2"/>
              </a:endParaRPr>
            </a:p>
          </p:txBody>
        </p:sp>
        <p:sp>
          <p:nvSpPr>
            <p:cNvPr id="28" name="ZoneTexte 27"/>
            <p:cNvSpPr txBox="1"/>
            <p:nvPr/>
          </p:nvSpPr>
          <p:spPr>
            <a:xfrm>
              <a:off x="6665755" y="-946195"/>
              <a:ext cx="2412268" cy="2160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ction plan</a:t>
              </a:r>
            </a:p>
          </p:txBody>
        </p:sp>
        <p:sp>
          <p:nvSpPr>
            <p:cNvPr id="29" name="ZoneTexte 28"/>
            <p:cNvSpPr txBox="1"/>
            <p:nvPr/>
          </p:nvSpPr>
          <p:spPr>
            <a:xfrm>
              <a:off x="4250685" y="-946195"/>
              <a:ext cx="2412268" cy="216000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9525">
              <a:solidFill>
                <a:schemeClr val="accent1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isks/Issues</a:t>
              </a:r>
            </a:p>
          </p:txBody>
        </p:sp>
      </p:grpSp>
      <p:grpSp>
        <p:nvGrpSpPr>
          <p:cNvPr id="6" name="Groupe 119"/>
          <p:cNvGrpSpPr/>
          <p:nvPr userDrawn="1"/>
        </p:nvGrpSpPr>
        <p:grpSpPr>
          <a:xfrm>
            <a:off x="7139549" y="856291"/>
            <a:ext cx="2864065" cy="1539820"/>
            <a:chOff x="5151437" y="-858151"/>
            <a:chExt cx="2592450" cy="810249"/>
          </a:xfrm>
        </p:grpSpPr>
        <p:grpSp>
          <p:nvGrpSpPr>
            <p:cNvPr id="7" name="Groupe 105"/>
            <p:cNvGrpSpPr/>
            <p:nvPr/>
          </p:nvGrpSpPr>
          <p:grpSpPr>
            <a:xfrm>
              <a:off x="5151437" y="-858151"/>
              <a:ext cx="2592450" cy="810249"/>
              <a:chOff x="4226660" y="-888444"/>
              <a:chExt cx="5022115" cy="809403"/>
            </a:xfrm>
          </p:grpSpPr>
          <p:sp>
            <p:nvSpPr>
              <p:cNvPr id="37" name="Rectangle 36"/>
              <p:cNvSpPr/>
              <p:nvPr/>
            </p:nvSpPr>
            <p:spPr bwMode="auto">
              <a:xfrm>
                <a:off x="4226660" y="-738917"/>
                <a:ext cx="5022113" cy="219995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  <a:alpha val="44000"/>
                </a:schemeClr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18000" bIns="18000" numCol="1" spcCol="108000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>
                  <a:lnSpc>
                    <a:spcPct val="110000"/>
                  </a:lnSpc>
                  <a:spcBef>
                    <a:spcPts val="400"/>
                  </a:spcBef>
                  <a:buClr>
                    <a:srgbClr val="C00000"/>
                  </a:buClr>
                  <a:buSzPct val="110000"/>
                  <a:buFont typeface="Arial" pitchFamily="34" charset="0"/>
                  <a:buNone/>
                  <a:tabLst>
                    <a:tab pos="474109" algn="l"/>
                    <a:tab pos="1653035" algn="l"/>
                  </a:tabLst>
                  <a:defRPr/>
                </a:pPr>
                <a:r>
                  <a:rPr lang="nl-NL" sz="1300">
                    <a:solidFill>
                      <a:srgbClr val="3E282B"/>
                    </a:solidFill>
                    <a:latin typeface="Calibri" panose="020F0502020204030204" pitchFamily="34" charset="0"/>
                    <a:cs typeface="Calibri" panose="020F0502020204030204" pitchFamily="34" charset="0"/>
                    <a:sym typeface="Wingdings" pitchFamily="2" charset="2"/>
                  </a:rPr>
                  <a:t>Budget</a:t>
                </a:r>
              </a:p>
            </p:txBody>
          </p:sp>
          <p:sp>
            <p:nvSpPr>
              <p:cNvPr id="38" name="ZoneTexte 37"/>
              <p:cNvSpPr txBox="1"/>
              <p:nvPr/>
            </p:nvSpPr>
            <p:spPr>
              <a:xfrm>
                <a:off x="7689412" y="-888444"/>
                <a:ext cx="1559363" cy="151387"/>
              </a:xfrm>
              <a:prstGeom prst="rect">
                <a:avLst/>
              </a:prstGeom>
              <a:solidFill>
                <a:schemeClr val="accent2"/>
              </a:solidFill>
              <a:ln w="9525">
                <a:solidFill>
                  <a:srgbClr val="0033CC"/>
                </a:solidFill>
              </a:ln>
            </p:spPr>
            <p:txBody>
              <a:bodyPr wrap="square" lIns="36000" rIns="36000" rtlCol="0" anchor="ctr" anchorCtr="0">
                <a:noAutofit/>
              </a:bodyPr>
              <a:lstStyle/>
              <a:p>
                <a:pPr algn="ctr"/>
                <a:r>
                  <a:rPr lang="en-US" sz="1500" b="1">
                    <a:solidFill>
                      <a:prstClr val="white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tatus</a:t>
                </a:r>
              </a:p>
            </p:txBody>
          </p:sp>
          <p:sp>
            <p:nvSpPr>
              <p:cNvPr id="39" name="Rectangle 38"/>
              <p:cNvSpPr/>
              <p:nvPr/>
            </p:nvSpPr>
            <p:spPr bwMode="auto">
              <a:xfrm>
                <a:off x="4226660" y="-519529"/>
                <a:ext cx="5022113" cy="219995"/>
              </a:xfrm>
              <a:prstGeom prst="rect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18000" bIns="18000" numCol="1" spcCol="108000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>
                  <a:lnSpc>
                    <a:spcPct val="110000"/>
                  </a:lnSpc>
                  <a:spcBef>
                    <a:spcPts val="400"/>
                  </a:spcBef>
                  <a:buClr>
                    <a:srgbClr val="C00000"/>
                  </a:buClr>
                  <a:buSzPct val="110000"/>
                  <a:buFont typeface="Arial" pitchFamily="34" charset="0"/>
                  <a:buNone/>
                  <a:tabLst>
                    <a:tab pos="182558" algn="l"/>
                    <a:tab pos="473063" algn="l"/>
                    <a:tab pos="1652547" algn="l"/>
                  </a:tabLst>
                  <a:defRPr/>
                </a:pPr>
                <a:r>
                  <a:rPr lang="nl-NL" sz="1300" kern="1200">
                    <a:solidFill>
                      <a:srgbClr val="3E282B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  <a:sym typeface="Wingdings" pitchFamily="2" charset="2"/>
                  </a:rPr>
                  <a:t>Planning</a:t>
                </a:r>
              </a:p>
            </p:txBody>
          </p:sp>
          <p:sp>
            <p:nvSpPr>
              <p:cNvPr id="40" name="Rectangle 39"/>
              <p:cNvSpPr/>
              <p:nvPr/>
            </p:nvSpPr>
            <p:spPr bwMode="auto">
              <a:xfrm>
                <a:off x="4226660" y="-299037"/>
                <a:ext cx="5022113" cy="219996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  <a:alpha val="45000"/>
                </a:schemeClr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18000" bIns="18000" numCol="1" spcCol="108000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>
                  <a:lnSpc>
                    <a:spcPct val="110000"/>
                  </a:lnSpc>
                  <a:spcBef>
                    <a:spcPts val="400"/>
                  </a:spcBef>
                  <a:buClr>
                    <a:srgbClr val="C00000"/>
                  </a:buClr>
                  <a:buSzPct val="110000"/>
                  <a:buFont typeface="Arial" pitchFamily="34" charset="0"/>
                  <a:buNone/>
                  <a:tabLst>
                    <a:tab pos="474109" algn="l"/>
                    <a:tab pos="1653035" algn="l"/>
                  </a:tabLst>
                  <a:defRPr/>
                </a:pPr>
                <a:r>
                  <a:rPr lang="nl-NL" sz="1300">
                    <a:solidFill>
                      <a:srgbClr val="3E282B"/>
                    </a:solidFill>
                    <a:latin typeface="Calibri" panose="020F0502020204030204" pitchFamily="34" charset="0"/>
                    <a:cs typeface="Calibri" panose="020F0502020204030204" pitchFamily="34" charset="0"/>
                    <a:sym typeface="Wingdings" pitchFamily="2" charset="2"/>
                  </a:rPr>
                  <a:t>Scope</a:t>
                </a:r>
              </a:p>
            </p:txBody>
          </p:sp>
          <p:sp>
            <p:nvSpPr>
              <p:cNvPr id="41" name="ZoneTexte 40"/>
              <p:cNvSpPr txBox="1"/>
              <p:nvPr/>
            </p:nvSpPr>
            <p:spPr>
              <a:xfrm>
                <a:off x="4226660" y="-888444"/>
                <a:ext cx="3462751" cy="151387"/>
              </a:xfrm>
              <a:prstGeom prst="rect">
                <a:avLst/>
              </a:prstGeom>
              <a:solidFill>
                <a:schemeClr val="bg2">
                  <a:lumMod val="95000"/>
                </a:schemeClr>
              </a:solidFill>
              <a:ln w="9525">
                <a:solidFill>
                  <a:schemeClr val="accent1"/>
                </a:solidFill>
              </a:ln>
            </p:spPr>
            <p:txBody>
              <a:bodyPr wrap="square" lIns="36000" rIns="36000" rtlCol="0" anchor="ctr" anchorCtr="0">
                <a:noAutofit/>
              </a:bodyPr>
              <a:lstStyle/>
              <a:p>
                <a:pPr algn="ctr"/>
                <a:r>
                  <a:rPr lang="en-US" sz="1500" b="1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roject metrics</a:t>
                </a:r>
              </a:p>
            </p:txBody>
          </p:sp>
        </p:grpSp>
        <p:cxnSp>
          <p:nvCxnSpPr>
            <p:cNvPr id="32" name="Connecteur droit 31"/>
            <p:cNvCxnSpPr/>
            <p:nvPr/>
          </p:nvCxnSpPr>
          <p:spPr>
            <a:xfrm>
              <a:off x="6938901" y="-694058"/>
              <a:ext cx="1" cy="620697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ZoneTexte 41"/>
          <p:cNvSpPr txBox="1"/>
          <p:nvPr userDrawn="1"/>
        </p:nvSpPr>
        <p:spPr>
          <a:xfrm>
            <a:off x="304803" y="4732510"/>
            <a:ext cx="11684000" cy="273887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>
            <a:solidFill>
              <a:schemeClr val="accent1"/>
            </a:solidFill>
          </a:ln>
        </p:spPr>
        <p:txBody>
          <a:bodyPr wrap="square" lIns="47999" tIns="60959" rIns="47999" bIns="60959" rtlCol="0" anchor="ctr" anchorCtr="0">
            <a:noAutofit/>
          </a:bodyPr>
          <a:lstStyle/>
          <a:p>
            <a:pPr algn="ctr"/>
            <a:r>
              <a:rPr lang="en-US" sz="1500" b="1">
                <a:ln>
                  <a:noFill/>
                </a:ln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nning/ Milestones</a:t>
            </a:r>
          </a:p>
        </p:txBody>
      </p:sp>
      <p:grpSp>
        <p:nvGrpSpPr>
          <p:cNvPr id="8" name="Groupe 101"/>
          <p:cNvGrpSpPr/>
          <p:nvPr/>
        </p:nvGrpSpPr>
        <p:grpSpPr>
          <a:xfrm>
            <a:off x="10128453" y="856292"/>
            <a:ext cx="1824201" cy="1530073"/>
            <a:chOff x="4226667" y="-888444"/>
            <a:chExt cx="4824533" cy="1528863"/>
          </a:xfrm>
        </p:grpSpPr>
        <p:sp>
          <p:nvSpPr>
            <p:cNvPr id="48" name="ZoneTexte 47"/>
            <p:cNvSpPr txBox="1"/>
            <p:nvPr/>
          </p:nvSpPr>
          <p:spPr>
            <a:xfrm>
              <a:off x="4226667" y="-888444"/>
              <a:ext cx="4824533" cy="28844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9525">
              <a:solidFill>
                <a:schemeClr val="accent1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verall Status</a:t>
              </a:r>
            </a:p>
          </p:txBody>
        </p:sp>
        <p:sp>
          <p:nvSpPr>
            <p:cNvPr id="49" name="Rectangle 48"/>
            <p:cNvSpPr/>
            <p:nvPr/>
          </p:nvSpPr>
          <p:spPr bwMode="auto">
            <a:xfrm>
              <a:off x="4226671" y="-606593"/>
              <a:ext cx="4824001" cy="12470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50" name="Connecteur droit 49"/>
          <p:cNvCxnSpPr/>
          <p:nvPr userDrawn="1"/>
        </p:nvCxnSpPr>
        <p:spPr>
          <a:xfrm>
            <a:off x="10992544" y="1256310"/>
            <a:ext cx="0" cy="10111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Image 3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76195"/>
            <a:ext cx="755507" cy="448583"/>
          </a:xfrm>
          <a:prstGeom prst="rect">
            <a:avLst/>
          </a:prstGeom>
        </p:spPr>
      </p:pic>
      <p:sp>
        <p:nvSpPr>
          <p:cNvPr id="35" name="ZoneTexte 34"/>
          <p:cNvSpPr txBox="1"/>
          <p:nvPr userDrawn="1"/>
        </p:nvSpPr>
        <p:spPr>
          <a:xfrm>
            <a:off x="10138649" y="2186286"/>
            <a:ext cx="886689" cy="12311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/>
          <a:p>
            <a:pPr algn="ctr" defTabSz="609570" fontAlgn="base">
              <a:spcBef>
                <a:spcPct val="0"/>
              </a:spcBef>
              <a:spcAft>
                <a:spcPct val="0"/>
              </a:spcAft>
            </a:pPr>
            <a:r>
              <a:rPr lang="fr-FR" sz="80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Vs. Last </a:t>
            </a:r>
            <a:r>
              <a:rPr lang="fr-FR" sz="800" err="1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month</a:t>
            </a:r>
            <a:endParaRPr lang="fr-FR" sz="80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36" name="ZoneTexte 35"/>
          <p:cNvSpPr txBox="1"/>
          <p:nvPr userDrawn="1"/>
        </p:nvSpPr>
        <p:spPr>
          <a:xfrm>
            <a:off x="10274311" y="1560681"/>
            <a:ext cx="559947" cy="12311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/>
          <a:p>
            <a:pPr algn="ctr" defTabSz="609570" fontAlgn="base">
              <a:spcBef>
                <a:spcPct val="0"/>
              </a:spcBef>
              <a:spcAft>
                <a:spcPct val="0"/>
              </a:spcAft>
            </a:pPr>
            <a:r>
              <a:rPr lang="fr-FR" sz="800" err="1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Current</a:t>
            </a:r>
            <a:endParaRPr lang="fr-FR" sz="90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43" name="ZoneTexte 42"/>
          <p:cNvSpPr txBox="1"/>
          <p:nvPr userDrawn="1"/>
        </p:nvSpPr>
        <p:spPr>
          <a:xfrm>
            <a:off x="11092191" y="1947411"/>
            <a:ext cx="769763" cy="24622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>
            <a:defPPr>
              <a:defRPr lang="fr-FR"/>
            </a:defPPr>
            <a:lvl1pPr algn="ctr" defTabSz="609585" fontAlgn="base">
              <a:spcBef>
                <a:spcPct val="0"/>
              </a:spcBef>
              <a:spcAft>
                <a:spcPct val="0"/>
              </a:spcAft>
              <a:defRPr sz="800">
                <a:solidFill>
                  <a:prstClr val="black">
                    <a:lumMod val="65000"/>
                    <a:lumOff val="35000"/>
                  </a:prstClr>
                </a:solidFill>
                <a:ea typeface="MS PGothic" charset="0"/>
              </a:defRPr>
            </a:lvl1pPr>
          </a:lstStyle>
          <a:p>
            <a:r>
              <a:rPr lang="fr-FR" sz="800">
                <a:latin typeface="Calibri" panose="020F0502020204030204" pitchFamily="34" charset="0"/>
                <a:cs typeface="Calibri" panose="020F0502020204030204" pitchFamily="34" charset="0"/>
              </a:rPr>
              <a:t>Project</a:t>
            </a:r>
          </a:p>
          <a:p>
            <a:r>
              <a:rPr lang="fr-FR" sz="800" err="1">
                <a:latin typeface="Calibri" panose="020F0502020204030204" pitchFamily="34" charset="0"/>
                <a:cs typeface="Calibri" panose="020F0502020204030204" pitchFamily="34" charset="0"/>
              </a:rPr>
              <a:t>Completion</a:t>
            </a:r>
            <a:endParaRPr lang="fr-FR" sz="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Titre 9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312401" cy="434975"/>
          </a:xfrm>
        </p:spPr>
        <p:txBody>
          <a:bodyPr anchor="t">
            <a:normAutofit/>
          </a:bodyPr>
          <a:lstStyle>
            <a:lvl1pPr marL="0" algn="l" defTabSz="914377" rtl="0" eaLnBrk="1" latinLnBrk="0" hangingPunct="1">
              <a:lnSpc>
                <a:spcPct val="100000"/>
              </a:lnSpc>
              <a:defRPr lang="en-US" sz="2400" b="1" kern="1200" spc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12569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58" y="210953"/>
            <a:ext cx="9458018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8DDFF98-429C-2F4F-88F2-1BC4ACFAE246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F02C4039-4765-1349-8C56-E477DAF8661D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8898369-C5A4-0F48-9F81-23B90E955146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1087699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4943" y="380221"/>
            <a:ext cx="5346670" cy="631583"/>
          </a:xfrm>
        </p:spPr>
        <p:txBody>
          <a:bodyPr lIns="0" tIns="0" rIns="0" bIns="0"/>
          <a:lstStyle>
            <a:lvl1pPr>
              <a:defRPr sz="4104" b="0" i="0">
                <a:solidFill>
                  <a:schemeClr val="bg1"/>
                </a:solidFill>
                <a:latin typeface="Quicksand"/>
                <a:cs typeface="Quicksand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09-Oct-19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896255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184" y="210953"/>
            <a:ext cx="773799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194304" y="1143905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8DDFF98-429C-2F4F-88F2-1BC4ACFAE246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F02C4039-4765-1349-8C56-E477DAF8661D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8898369-C5A4-0F48-9F81-23B90E955146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70BD5D38-DB30-E945-BE72-55F0FBDF0DC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194304" y="2214497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9A759BC0-3D35-1A44-BF8D-D4A86EB213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194304" y="3285089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7EC1EA8E-A807-F446-8399-33364376C27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194304" y="4355681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EC54A28A-984D-8841-9C5E-4DA1DBAC5A0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194304" y="5426272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23354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184" y="210953"/>
            <a:ext cx="773799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194304" y="1143905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8DDFF98-429C-2F4F-88F2-1BC4ACFAE246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F02C4039-4765-1349-8C56-E477DAF8661D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8898369-C5A4-0F48-9F81-23B90E955146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70BD5D38-DB30-E945-BE72-55F0FBDF0DC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194304" y="2214497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9A759BC0-3D35-1A44-BF8D-D4A86EB213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194304" y="3285089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7EC1EA8E-A807-F446-8399-33364376C27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194304" y="4355681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EC54A28A-984D-8841-9C5E-4DA1DBAC5A0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194304" y="5426272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Espace réservé du texte 3">
            <a:extLst>
              <a:ext uri="{FF2B5EF4-FFF2-40B4-BE49-F238E27FC236}">
                <a16:creationId xmlns:a16="http://schemas.microsoft.com/office/drawing/2014/main" id="{A6D7070B-77A4-5647-89EE-A6B0C551187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36036" y="1143905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Espace réservé du texte 3">
            <a:extLst>
              <a:ext uri="{FF2B5EF4-FFF2-40B4-BE49-F238E27FC236}">
                <a16:creationId xmlns:a16="http://schemas.microsoft.com/office/drawing/2014/main" id="{C8F354F3-7782-2B43-B971-498DF7D95FD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236036" y="2214497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6D8DE6B7-7B97-FB4E-9EA5-7691EF8B61C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36036" y="3285089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id="{178062ED-3069-484F-902C-352DCA4B76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236036" y="4355681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id="{9D873DA8-8A08-A946-BB4C-6115648026B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236036" y="5426272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42964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58" y="210953"/>
            <a:ext cx="9458018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FF835F6-C546-0644-A5A8-2B184782E1FD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1E147E1F-836C-1C45-90D7-78CB347DA3DE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C1E7F59D-DB11-AF44-A0F0-59727C6DD7C5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61372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image" Target="../media/image2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4F3EF66-AF5B-C34E-BB1F-B5556314A8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444" y="136525"/>
            <a:ext cx="10125795" cy="8578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90DB30-A338-4347-98D5-C7729C2897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76445" y="1223319"/>
            <a:ext cx="11839111" cy="49536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78B723-F6FA-494D-8A78-D3A4AE95DB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6444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 dirty="0"/>
              <a:t>© Quadi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216DB7-CDB4-934C-849A-4B9C1BAA07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7235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5EA26C5-9F45-034B-8EC4-078E2CDAF82E}"/>
              </a:ext>
            </a:extLst>
          </p:cNvPr>
          <p:cNvPicPr>
            <a:picLocks noChangeAspect="1"/>
          </p:cNvPicPr>
          <p:nvPr userDrawn="1"/>
        </p:nvPicPr>
        <p:blipFill>
          <a:blip r:embed="rId62">
            <a:extLs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10500790" y="222757"/>
            <a:ext cx="1514766" cy="37869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4C4DFD2-2448-AE4D-AA96-563ADB77250E}"/>
              </a:ext>
            </a:extLst>
          </p:cNvPr>
          <p:cNvSpPr/>
          <p:nvPr userDrawn="1"/>
        </p:nvSpPr>
        <p:spPr>
          <a:xfrm>
            <a:off x="0" y="6798834"/>
            <a:ext cx="12192000" cy="806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292385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103" r:id="rId1"/>
    <p:sldLayoutId id="2147484104" r:id="rId2"/>
    <p:sldLayoutId id="2147484151" r:id="rId3"/>
    <p:sldLayoutId id="2147484105" r:id="rId4"/>
    <p:sldLayoutId id="2147484106" r:id="rId5"/>
    <p:sldLayoutId id="2147484107" r:id="rId6"/>
    <p:sldLayoutId id="2147484164" r:id="rId7"/>
    <p:sldLayoutId id="2147484165" r:id="rId8"/>
    <p:sldLayoutId id="2147484152" r:id="rId9"/>
    <p:sldLayoutId id="2147484153" r:id="rId10"/>
    <p:sldLayoutId id="2147484155" r:id="rId11"/>
    <p:sldLayoutId id="2147484149" r:id="rId12"/>
    <p:sldLayoutId id="2147484160" r:id="rId13"/>
    <p:sldLayoutId id="2147484159" r:id="rId14"/>
    <p:sldLayoutId id="2147484158" r:id="rId15"/>
    <p:sldLayoutId id="2147484162" r:id="rId16"/>
    <p:sldLayoutId id="2147484108" r:id="rId17"/>
    <p:sldLayoutId id="2147484163" r:id="rId18"/>
    <p:sldLayoutId id="2147484109" r:id="rId19"/>
    <p:sldLayoutId id="2147484110" r:id="rId20"/>
    <p:sldLayoutId id="2147484111" r:id="rId21"/>
    <p:sldLayoutId id="2147484112" r:id="rId22"/>
    <p:sldLayoutId id="2147484113" r:id="rId23"/>
    <p:sldLayoutId id="2147484114" r:id="rId24"/>
    <p:sldLayoutId id="2147484115" r:id="rId25"/>
    <p:sldLayoutId id="2147484116" r:id="rId26"/>
    <p:sldLayoutId id="2147484117" r:id="rId27"/>
    <p:sldLayoutId id="2147484118" r:id="rId28"/>
    <p:sldLayoutId id="2147484119" r:id="rId29"/>
    <p:sldLayoutId id="2147484120" r:id="rId30"/>
    <p:sldLayoutId id="2147484121" r:id="rId31"/>
    <p:sldLayoutId id="2147484122" r:id="rId32"/>
    <p:sldLayoutId id="2147484123" r:id="rId33"/>
    <p:sldLayoutId id="2147484124" r:id="rId34"/>
    <p:sldLayoutId id="2147484125" r:id="rId35"/>
    <p:sldLayoutId id="2147484126" r:id="rId36"/>
    <p:sldLayoutId id="2147484127" r:id="rId37"/>
    <p:sldLayoutId id="2147484128" r:id="rId38"/>
    <p:sldLayoutId id="2147484129" r:id="rId39"/>
    <p:sldLayoutId id="2147484130" r:id="rId40"/>
    <p:sldLayoutId id="2147484131" r:id="rId41"/>
    <p:sldLayoutId id="2147484132" r:id="rId42"/>
    <p:sldLayoutId id="2147484133" r:id="rId43"/>
    <p:sldLayoutId id="2147484134" r:id="rId44"/>
    <p:sldLayoutId id="2147484135" r:id="rId45"/>
    <p:sldLayoutId id="2147484136" r:id="rId46"/>
    <p:sldLayoutId id="2147484137" r:id="rId47"/>
    <p:sldLayoutId id="2147484139" r:id="rId48"/>
    <p:sldLayoutId id="2147484140" r:id="rId49"/>
    <p:sldLayoutId id="2147484141" r:id="rId50"/>
    <p:sldLayoutId id="2147484143" r:id="rId51"/>
    <p:sldLayoutId id="2147484144" r:id="rId52"/>
    <p:sldLayoutId id="2147484145" r:id="rId53"/>
    <p:sldLayoutId id="2147484146" r:id="rId54"/>
    <p:sldLayoutId id="2147484147" r:id="rId55"/>
    <p:sldLayoutId id="2147484167" r:id="rId56"/>
    <p:sldLayoutId id="2147484148" r:id="rId57"/>
    <p:sldLayoutId id="2147484161" r:id="rId58"/>
    <p:sldLayoutId id="2147484166" r:id="rId59"/>
    <p:sldLayoutId id="2147484168" r:id="rId60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0.jp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10.xml"/><Relationship Id="rId7" Type="http://schemas.openxmlformats.org/officeDocument/2006/relationships/image" Target="../media/image19.emf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kubernetes/minikube" TargetMode="Externa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okd.io/" TargetMode="External"/><Relationship Id="rId2" Type="http://schemas.openxmlformats.org/officeDocument/2006/relationships/hyperlink" Target="https://www.okd.io/minishift/" TargetMode="Externa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operator-framework/operator-sdk" TargetMode="Externa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operator-framework/operator-sdk-samples/tree/master/memcached-operator" TargetMode="Externa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medium.com/@adilsonbna/installing-a-highly-available-openshift-origin-cluster-f3493cbdb644" TargetMode="External"/><Relationship Id="rId2" Type="http://schemas.openxmlformats.org/officeDocument/2006/relationships/hyperlink" Target="https://kubernetes.io/" TargetMode="Externa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tags" Target="../tags/tag4.xml"/><Relationship Id="rId7" Type="http://schemas.openxmlformats.org/officeDocument/2006/relationships/image" Target="../media/image19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6.xml"/><Relationship Id="rId7" Type="http://schemas.openxmlformats.org/officeDocument/2006/relationships/image" Target="../media/image19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8.xml"/><Relationship Id="rId7" Type="http://schemas.openxmlformats.org/officeDocument/2006/relationships/image" Target="../media/image19.emf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8" name="Diapositive think-cell" r:id="rId5" imgW="421" imgH="423" progId="TCLayout.ActiveDocument.1">
                  <p:embed/>
                </p:oleObj>
              </mc:Choice>
              <mc:Fallback>
                <p:oleObj name="Diapositive think-cell" r:id="rId5" imgW="421" imgH="423" progId="TCLayout.ActiveDocument.1">
                  <p:embed/>
                  <p:pic>
                    <p:nvPicPr>
                      <p:cNvPr id="7" name="Obje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7">
            <a:extLst>
              <a:ext uri="{FF2B5EF4-FFF2-40B4-BE49-F238E27FC236}">
                <a16:creationId xmlns:a16="http://schemas.microsoft.com/office/drawing/2014/main" id="{9C1A432B-5F0A-644D-B08C-1C788C3CE8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8480" y="5757001"/>
            <a:ext cx="11214247" cy="483850"/>
          </a:xfrm>
        </p:spPr>
        <p:txBody>
          <a:bodyPr/>
          <a:lstStyle/>
          <a:p>
            <a:r>
              <a:rPr lang="en-US" sz="2400" dirty="0" err="1">
                <a:solidFill>
                  <a:schemeClr val="tx1"/>
                </a:solidFill>
              </a:rPr>
              <a:t>Barcamp</a:t>
            </a:r>
            <a:r>
              <a:rPr lang="en-US" sz="2400" dirty="0">
                <a:solidFill>
                  <a:schemeClr val="tx1"/>
                </a:solidFill>
              </a:rPr>
              <a:t>, UHK, 12.10.2019</a:t>
            </a:r>
            <a:endParaRPr lang="fr-FR" sz="2400" dirty="0">
              <a:solidFill>
                <a:schemeClr val="tx1"/>
              </a:solidFill>
            </a:endParaRP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85118CEA-4684-6D4C-A518-7D62715EFD4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7"/>
          <a:srcRect l="9667" t="-854" b="213"/>
          <a:stretch/>
        </p:blipFill>
        <p:spPr>
          <a:xfrm>
            <a:off x="0" y="1155031"/>
            <a:ext cx="12192000" cy="3882465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1416AFE-51A9-744D-9AF9-58B8BA1E2A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9540" y="1586754"/>
            <a:ext cx="5036386" cy="3153688"/>
          </a:xfrm>
        </p:spPr>
        <p:txBody>
          <a:bodyPr/>
          <a:lstStyle/>
          <a:p>
            <a:pPr algn="l"/>
            <a:r>
              <a:rPr lang="en-US" sz="5400" dirty="0"/>
              <a:t>Enterprise </a:t>
            </a:r>
            <a:br>
              <a:rPr lang="en-US" sz="5400" dirty="0"/>
            </a:br>
            <a:r>
              <a:rPr lang="en-US" sz="5400" dirty="0"/>
              <a:t>Grade Deployment</a:t>
            </a:r>
            <a:endParaRPr lang="en-US" sz="5400" dirty="0">
              <a:latin typeface="+mn-lt"/>
            </a:endParaRPr>
          </a:p>
        </p:txBody>
      </p:sp>
      <p:sp>
        <p:nvSpPr>
          <p:cNvPr id="10" name="Subtitle 7">
            <a:extLst>
              <a:ext uri="{FF2B5EF4-FFF2-40B4-BE49-F238E27FC236}">
                <a16:creationId xmlns:a16="http://schemas.microsoft.com/office/drawing/2014/main" id="{51AB8ABA-A4FC-E64C-B6EB-5C0BF98C8632}"/>
              </a:ext>
            </a:extLst>
          </p:cNvPr>
          <p:cNvSpPr txBox="1">
            <a:spLocks/>
          </p:cNvSpPr>
          <p:nvPr/>
        </p:nvSpPr>
        <p:spPr>
          <a:xfrm>
            <a:off x="538480" y="5219119"/>
            <a:ext cx="11214247" cy="483850"/>
          </a:xfrm>
          <a:prstGeom prst="rect">
            <a:avLst/>
          </a:prstGeom>
          <a:ln w="6350">
            <a:noFill/>
          </a:ln>
        </p:spPr>
        <p:txBody>
          <a:bodyPr vert="horz" wrap="square" lIns="91440" tIns="45720" rIns="91440" bIns="45720" rtlCol="0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Franklin Gothic Book" panose="020B0503020102020204" pitchFamily="34" charset="0"/>
              <a:buNone/>
              <a:tabLst/>
              <a:defRPr sz="2300" b="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400" dirty="0">
                <a:solidFill>
                  <a:schemeClr val="tx1"/>
                </a:solidFill>
              </a:rPr>
              <a:t>Martin </a:t>
            </a:r>
            <a:r>
              <a:rPr lang="fr-FR" sz="2400" dirty="0" err="1">
                <a:solidFill>
                  <a:schemeClr val="tx1"/>
                </a:solidFill>
              </a:rPr>
              <a:t>Nov</a:t>
            </a:r>
            <a:r>
              <a:rPr lang="cs-CZ" sz="2400" dirty="0" err="1">
                <a:solidFill>
                  <a:schemeClr val="tx1"/>
                </a:solidFill>
              </a:rPr>
              <a:t>ák</a:t>
            </a:r>
            <a:r>
              <a:rPr lang="fr-FR" sz="2400" dirty="0">
                <a:solidFill>
                  <a:schemeClr val="tx1"/>
                </a:solidFill>
              </a:rPr>
              <a:t> I </a:t>
            </a:r>
            <a:r>
              <a:rPr lang="cs-CZ" sz="2400" dirty="0" err="1">
                <a:solidFill>
                  <a:schemeClr val="tx1"/>
                </a:solidFill>
              </a:rPr>
              <a:t>Product</a:t>
            </a:r>
            <a:r>
              <a:rPr lang="cs-CZ" sz="2400" dirty="0">
                <a:solidFill>
                  <a:schemeClr val="tx1"/>
                </a:solidFill>
              </a:rPr>
              <a:t> </a:t>
            </a:r>
            <a:r>
              <a:rPr lang="cs-CZ" sz="2400" dirty="0" err="1">
                <a:solidFill>
                  <a:schemeClr val="tx1"/>
                </a:solidFill>
              </a:rPr>
              <a:t>Architect</a:t>
            </a:r>
            <a:endParaRPr lang="fr-FR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95367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CF6116-EF17-4C19-872D-6883A8AF71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iner orchestr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8A2A60-A666-453E-8478-9393E4946D2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Run and control more containers simultaneously</a:t>
            </a:r>
          </a:p>
          <a:p>
            <a:r>
              <a:rPr lang="en-US" dirty="0"/>
              <a:t>Maintenance of application cluster state</a:t>
            </a:r>
          </a:p>
          <a:p>
            <a:r>
              <a:rPr lang="en-US" dirty="0"/>
              <a:t>Examples</a:t>
            </a:r>
          </a:p>
          <a:p>
            <a:pPr lvl="1"/>
            <a:r>
              <a:rPr lang="en-US" dirty="0"/>
              <a:t>Docker Compose</a:t>
            </a:r>
          </a:p>
          <a:p>
            <a:pPr lvl="1"/>
            <a:r>
              <a:rPr lang="en-US" dirty="0"/>
              <a:t>Docker Swarm</a:t>
            </a:r>
          </a:p>
          <a:p>
            <a:pPr lvl="1"/>
            <a:r>
              <a:rPr lang="en-US" dirty="0"/>
              <a:t>Kubernetes/OpenShift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62D354-2527-49E9-90E0-657415C5282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</p:spTree>
    <p:extLst>
      <p:ext uri="{BB962C8B-B14F-4D97-AF65-F5344CB8AC3E}">
        <p14:creationId xmlns:p14="http://schemas.microsoft.com/office/powerpoint/2010/main" val="42474654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8" name="Diapositive think-cell" r:id="rId6" imgW="421" imgH="423" progId="TCLayout.ActiveDocument.1">
                  <p:embed/>
                </p:oleObj>
              </mc:Choice>
              <mc:Fallback>
                <p:oleObj name="Diapositive think-cell" r:id="rId6" imgW="421" imgH="423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CA2D2BB-C5AC-6545-9735-40E81A844860}"/>
              </a:ext>
            </a:extLst>
          </p:cNvPr>
          <p:cNvSpPr/>
          <p:nvPr/>
        </p:nvSpPr>
        <p:spPr>
          <a:xfrm rot="16200000">
            <a:off x="6916822" y="1380542"/>
            <a:ext cx="4303776" cy="4303776"/>
          </a:xfrm>
          <a:prstGeom prst="ellipse">
            <a:avLst/>
          </a:prstGeom>
          <a:gradFill>
            <a:gsLst>
              <a:gs pos="49000">
                <a:schemeClr val="accent1">
                  <a:alpha val="24000"/>
                </a:schemeClr>
              </a:gs>
              <a:gs pos="100000">
                <a:schemeClr val="accent6"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79798C2-F225-8343-B10F-8E0D1EE477C9}"/>
              </a:ext>
            </a:extLst>
          </p:cNvPr>
          <p:cNvSpPr/>
          <p:nvPr/>
        </p:nvSpPr>
        <p:spPr>
          <a:xfrm rot="16200000">
            <a:off x="7798691" y="1521786"/>
            <a:ext cx="2254374" cy="842942"/>
          </a:xfrm>
          <a:prstGeom prst="rect">
            <a:avLst/>
          </a:prstGeom>
          <a:gradFill>
            <a:gsLst>
              <a:gs pos="49000">
                <a:schemeClr val="accent1">
                  <a:alpha val="68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FCE8D86-89F3-5C48-84FC-D388BB317A0B}"/>
              </a:ext>
            </a:extLst>
          </p:cNvPr>
          <p:cNvSpPr/>
          <p:nvPr/>
        </p:nvSpPr>
        <p:spPr>
          <a:xfrm flipV="1">
            <a:off x="10131893" y="3847461"/>
            <a:ext cx="2177410" cy="777241"/>
          </a:xfrm>
          <a:prstGeom prst="rect">
            <a:avLst/>
          </a:prstGeom>
          <a:gradFill>
            <a:gsLst>
              <a:gs pos="49000">
                <a:schemeClr val="accent3">
                  <a:alpha val="55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F6626FB-7A2B-B14E-9F94-EE4EEA58BB7E}"/>
              </a:ext>
            </a:extLst>
          </p:cNvPr>
          <p:cNvSpPr/>
          <p:nvPr/>
        </p:nvSpPr>
        <p:spPr>
          <a:xfrm rot="16200000" flipV="1">
            <a:off x="6719877" y="417872"/>
            <a:ext cx="1637834" cy="796396"/>
          </a:xfrm>
          <a:prstGeom prst="rect">
            <a:avLst/>
          </a:prstGeom>
          <a:gradFill>
            <a:gsLst>
              <a:gs pos="49000">
                <a:schemeClr val="accent2">
                  <a:alpha val="80000"/>
                </a:schemeClr>
              </a:gs>
              <a:gs pos="99000">
                <a:schemeClr val="accent4">
                  <a:alpha val="84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2E0A814-B9BA-7A42-A06D-F26B575A2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</a:t>
            </a:r>
            <a:br>
              <a:rPr lang="en-US" dirty="0"/>
            </a:br>
            <a:r>
              <a:rPr lang="en-US" dirty="0"/>
              <a:t>(K8s)</a:t>
            </a:r>
          </a:p>
        </p:txBody>
      </p:sp>
      <p:pic>
        <p:nvPicPr>
          <p:cNvPr id="5" name="Picture Placeholder 4" descr="A picture containing room&#10;&#10;Description automatically generated">
            <a:extLst>
              <a:ext uri="{FF2B5EF4-FFF2-40B4-BE49-F238E27FC236}">
                <a16:creationId xmlns:a16="http://schemas.microsoft.com/office/drawing/2014/main" id="{C78CAB24-2841-42A0-AD37-AA2B7EEAC8FE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8"/>
          <a:srcRect l="22934" r="22934"/>
          <a:stretch>
            <a:fillRect/>
          </a:stretch>
        </p:blipFill>
        <p:spPr/>
      </p:pic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C2F57662-B137-479C-A38C-655D8307D21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43095" y="3441032"/>
            <a:ext cx="1665326" cy="1616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9603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F33ED5-D47A-4798-B248-90AA556391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 clust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AC3C261-77A2-493D-8F62-20D5139B0A74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0" y="1047474"/>
            <a:ext cx="11646588" cy="476305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621032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AF80A9-A6F5-4A34-ADBB-03E85F7116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 nod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1DBF99F-518C-40DD-AEA5-D34C1FC2B93A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2594764" y="1113039"/>
            <a:ext cx="7002471" cy="548187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432420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0CD595-C434-4F29-802C-E462857E3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 install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EBCC5F-6945-45CE-8F6C-6FC563AC47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Local machine</a:t>
            </a:r>
          </a:p>
          <a:p>
            <a:pPr lvl="1"/>
            <a:r>
              <a:rPr lang="en-US" dirty="0" err="1"/>
              <a:t>Minikube</a:t>
            </a:r>
            <a:endParaRPr lang="en-US" dirty="0"/>
          </a:p>
          <a:p>
            <a:pPr lvl="2"/>
            <a:r>
              <a:rPr lang="en-US" dirty="0">
                <a:hlinkClick r:id="rId2"/>
              </a:rPr>
              <a:t>https://github.com/kubernetes/minikube</a:t>
            </a:r>
            <a:endParaRPr lang="en-US" dirty="0"/>
          </a:p>
          <a:p>
            <a:r>
              <a:rPr lang="en-US" dirty="0"/>
              <a:t>Cloud</a:t>
            </a:r>
          </a:p>
          <a:p>
            <a:pPr lvl="1"/>
            <a:r>
              <a:rPr lang="en-US" dirty="0"/>
              <a:t>Terraform/Ansible scripts</a:t>
            </a:r>
          </a:p>
          <a:p>
            <a:pPr lvl="1"/>
            <a:r>
              <a:rPr lang="en-US" dirty="0"/>
              <a:t>Azure Kubernetes Service (AKS)</a:t>
            </a:r>
          </a:p>
          <a:p>
            <a:pPr lvl="1"/>
            <a:r>
              <a:rPr lang="en-US" dirty="0"/>
              <a:t>Elastic Kubernetes Service (EKS)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8550905-7140-4A24-865F-0E6CF683E32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</p:spTree>
    <p:extLst>
      <p:ext uri="{BB962C8B-B14F-4D97-AF65-F5344CB8AC3E}">
        <p14:creationId xmlns:p14="http://schemas.microsoft.com/office/powerpoint/2010/main" val="10062005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E96C4E-3FB6-4702-A69F-F5629BAC02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632" y="1166588"/>
            <a:ext cx="3855720" cy="2157884"/>
          </a:xfrm>
        </p:spPr>
        <p:txBody>
          <a:bodyPr/>
          <a:lstStyle/>
          <a:p>
            <a:r>
              <a:rPr lang="en-US" dirty="0"/>
              <a:t>OpenShift</a:t>
            </a:r>
          </a:p>
        </p:txBody>
      </p:sp>
      <p:pic>
        <p:nvPicPr>
          <p:cNvPr id="7" name="Picture Placeholder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4E559A95-6832-45BD-A48F-CF0546B8B5D7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2"/>
          <a:srcRect t="1182" b="1182"/>
          <a:stretch>
            <a:fillRect/>
          </a:stretch>
        </p:blipFill>
        <p:spPr/>
      </p:pic>
      <p:pic>
        <p:nvPicPr>
          <p:cNvPr id="144392" name="Picture 8" descr="Výsledek obrázku pro openshift logo">
            <a:extLst>
              <a:ext uri="{FF2B5EF4-FFF2-40B4-BE49-F238E27FC236}">
                <a16:creationId xmlns:a16="http://schemas.microsoft.com/office/drawing/2014/main" id="{32E6E6A1-76B7-4479-9572-406C7A5CFA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947" y="3207548"/>
            <a:ext cx="2542674" cy="794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24888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137123-23D1-4919-997A-DA81A16DD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Shif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E87479-260E-4177-873C-B9A554574C9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Enterprise Kubernetes</a:t>
            </a:r>
          </a:p>
          <a:p>
            <a:r>
              <a:rPr lang="en-US" dirty="0"/>
              <a:t>Mainly security oriented</a:t>
            </a:r>
          </a:p>
          <a:p>
            <a:r>
              <a:rPr lang="en-US" dirty="0"/>
              <a:t>Can be demanded by customers as the required application deployment</a:t>
            </a:r>
          </a:p>
          <a:p>
            <a:r>
              <a:rPr lang="en-US" dirty="0"/>
              <a:t>Layer over k8s</a:t>
            </a:r>
          </a:p>
          <a:p>
            <a:r>
              <a:rPr lang="en-US" dirty="0"/>
              <a:t>Templates almost the same as in k8s</a:t>
            </a:r>
          </a:p>
          <a:p>
            <a:r>
              <a:rPr lang="en-US" dirty="0"/>
              <a:t>GUI</a:t>
            </a:r>
          </a:p>
        </p:txBody>
      </p:sp>
    </p:spTree>
    <p:extLst>
      <p:ext uri="{BB962C8B-B14F-4D97-AF65-F5344CB8AC3E}">
        <p14:creationId xmlns:p14="http://schemas.microsoft.com/office/powerpoint/2010/main" val="33160682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4F5B4F-04A8-499E-8FA3-CADC290F09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penshift</a:t>
            </a:r>
            <a:r>
              <a:rPr lang="en-US" dirty="0"/>
              <a:t> clust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9A6F7FF-C7B4-48AF-9E66-C33758E86ACC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1164336" y="1066165"/>
            <a:ext cx="9447516" cy="558088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186060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7EA77C-9C4D-44CC-BE1F-49A756912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penshift</a:t>
            </a:r>
            <a:r>
              <a:rPr lang="en-US" dirty="0"/>
              <a:t> install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0BF86D-00FC-448E-9437-692B28327CE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Local machine</a:t>
            </a:r>
          </a:p>
          <a:p>
            <a:pPr lvl="1"/>
            <a:r>
              <a:rPr lang="en-US" dirty="0" err="1"/>
              <a:t>Minishift</a:t>
            </a:r>
            <a:r>
              <a:rPr lang="en-US" dirty="0"/>
              <a:t> </a:t>
            </a:r>
          </a:p>
          <a:p>
            <a:pPr lvl="2"/>
            <a:r>
              <a:rPr lang="en-US" dirty="0">
                <a:hlinkClick r:id="rId2"/>
              </a:rPr>
              <a:t>https://www.okd.io/minishift/</a:t>
            </a:r>
            <a:endParaRPr lang="en-US" dirty="0"/>
          </a:p>
          <a:p>
            <a:r>
              <a:rPr lang="en-US" dirty="0"/>
              <a:t>Community version</a:t>
            </a:r>
          </a:p>
          <a:p>
            <a:pPr lvl="1"/>
            <a:r>
              <a:rPr lang="en-US" dirty="0">
                <a:hlinkClick r:id="rId3"/>
              </a:rPr>
              <a:t>https://www.okd.io</a:t>
            </a:r>
            <a:endParaRPr lang="en-US" dirty="0"/>
          </a:p>
          <a:p>
            <a:pPr lvl="1"/>
            <a:r>
              <a:rPr lang="en-US" dirty="0"/>
              <a:t>Azure templates 3.9/3.11 fork</a:t>
            </a:r>
          </a:p>
          <a:p>
            <a:r>
              <a:rPr lang="en-US" dirty="0"/>
              <a:t>Paid versions on RedHat/Azure/Amazon servers</a:t>
            </a:r>
          </a:p>
        </p:txBody>
      </p:sp>
    </p:spTree>
    <p:extLst>
      <p:ext uri="{BB962C8B-B14F-4D97-AF65-F5344CB8AC3E}">
        <p14:creationId xmlns:p14="http://schemas.microsoft.com/office/powerpoint/2010/main" val="41898547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811BE5-AC71-4C94-9D8B-9D45983628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71C3E3E-4E95-456F-A10B-8BEA14C1C4CD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</p:spTree>
    <p:extLst>
      <p:ext uri="{BB962C8B-B14F-4D97-AF65-F5344CB8AC3E}">
        <p14:creationId xmlns:p14="http://schemas.microsoft.com/office/powerpoint/2010/main" val="22457552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07" name="Diapositive think-cell" r:id="rId5" imgW="421" imgH="423" progId="TCLayout.ActiveDocument.1">
                  <p:embed/>
                </p:oleObj>
              </mc:Choice>
              <mc:Fallback>
                <p:oleObj name="Diapositive think-cell" r:id="rId5" imgW="421" imgH="423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133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9E8136B-1974-F44B-A771-6CAEAFB46B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Deployment transformatio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9020CA7D-D2F1-2E4C-A1D1-A2AFC6E9621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194304" y="2214497"/>
            <a:ext cx="6790944" cy="86126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Kubernetes &amp; OpenShif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9603DE63-0EB0-4146-9225-209B40525D5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188208" y="3370527"/>
            <a:ext cx="6790944" cy="86126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Demo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07E4DA24-0C3D-7F43-B702-C9DB76F5815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188208" y="4495240"/>
            <a:ext cx="6790944" cy="86126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Kubernetes operators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042DE2B8-C0D3-564D-9BB5-B003C67AB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194304" y="5619953"/>
            <a:ext cx="6790944" cy="86126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Summary</a:t>
            </a:r>
          </a:p>
        </p:txBody>
      </p:sp>
      <p:cxnSp>
        <p:nvCxnSpPr>
          <p:cNvPr id="9" name="Connecteur droit 15"/>
          <p:cNvCxnSpPr/>
          <p:nvPr/>
        </p:nvCxnSpPr>
        <p:spPr>
          <a:xfrm>
            <a:off x="2827205" y="1239732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21"/>
          <p:cNvCxnSpPr/>
          <p:nvPr/>
        </p:nvCxnSpPr>
        <p:spPr>
          <a:xfrm>
            <a:off x="2817737" y="2364445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Ellipse 1"/>
          <p:cNvSpPr>
            <a:spLocks noChangeAspect="1"/>
          </p:cNvSpPr>
          <p:nvPr/>
        </p:nvSpPr>
        <p:spPr>
          <a:xfrm>
            <a:off x="2052184" y="1390420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63" name="Ellipse 62"/>
          <p:cNvSpPr>
            <a:spLocks noChangeAspect="1"/>
          </p:cNvSpPr>
          <p:nvPr/>
        </p:nvSpPr>
        <p:spPr>
          <a:xfrm>
            <a:off x="2052184" y="2468480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2</a:t>
            </a:r>
          </a:p>
        </p:txBody>
      </p:sp>
      <p:sp>
        <p:nvSpPr>
          <p:cNvPr id="69" name="Ellipse 68"/>
          <p:cNvSpPr>
            <a:spLocks noChangeAspect="1"/>
          </p:cNvSpPr>
          <p:nvPr/>
        </p:nvSpPr>
        <p:spPr>
          <a:xfrm>
            <a:off x="2052184" y="3617673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3</a:t>
            </a:r>
          </a:p>
        </p:txBody>
      </p:sp>
      <p:sp>
        <p:nvSpPr>
          <p:cNvPr id="78" name="Ellipse 77"/>
          <p:cNvSpPr>
            <a:spLocks noChangeAspect="1"/>
          </p:cNvSpPr>
          <p:nvPr/>
        </p:nvSpPr>
        <p:spPr>
          <a:xfrm>
            <a:off x="2052184" y="4721337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4</a:t>
            </a:r>
          </a:p>
        </p:txBody>
      </p:sp>
      <p:cxnSp>
        <p:nvCxnSpPr>
          <p:cNvPr id="16" name="Connecteur droit 21"/>
          <p:cNvCxnSpPr/>
          <p:nvPr/>
        </p:nvCxnSpPr>
        <p:spPr>
          <a:xfrm>
            <a:off x="2817737" y="3489159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llipse 17"/>
          <p:cNvSpPr>
            <a:spLocks noChangeAspect="1"/>
          </p:cNvSpPr>
          <p:nvPr/>
        </p:nvSpPr>
        <p:spPr>
          <a:xfrm>
            <a:off x="2052184" y="5863209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5</a:t>
            </a:r>
          </a:p>
        </p:txBody>
      </p:sp>
      <p:cxnSp>
        <p:nvCxnSpPr>
          <p:cNvPr id="22" name="Connecteur droit 21"/>
          <p:cNvCxnSpPr/>
          <p:nvPr/>
        </p:nvCxnSpPr>
        <p:spPr>
          <a:xfrm>
            <a:off x="2817737" y="4613872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1"/>
          <p:cNvCxnSpPr/>
          <p:nvPr/>
        </p:nvCxnSpPr>
        <p:spPr>
          <a:xfrm>
            <a:off x="2817737" y="5738585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01077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AE00E0-E527-48BB-B5A1-411BBCF9CD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</a:t>
            </a:r>
            <a:br>
              <a:rPr lang="en-US" dirty="0"/>
            </a:br>
            <a:r>
              <a:rPr lang="en-US" dirty="0"/>
              <a:t>Operators</a:t>
            </a:r>
          </a:p>
        </p:txBody>
      </p:sp>
      <p:pic>
        <p:nvPicPr>
          <p:cNvPr id="6" name="Picture Placeholder 5" descr="A person using a computer&#10;&#10;Description automatically generated">
            <a:extLst>
              <a:ext uri="{FF2B5EF4-FFF2-40B4-BE49-F238E27FC236}">
                <a16:creationId xmlns:a16="http://schemas.microsoft.com/office/drawing/2014/main" id="{AB34B098-FD7F-4341-9667-2135AB53511C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2"/>
          <a:srcRect l="16350" r="16350"/>
          <a:stretch>
            <a:fillRect/>
          </a:stretch>
        </p:blipFill>
        <p:spPr>
          <a:xfrm>
            <a:off x="5727031" y="0"/>
            <a:ext cx="6600401" cy="6858000"/>
          </a:xfrm>
        </p:spPr>
      </p:pic>
    </p:spTree>
    <p:extLst>
      <p:ext uri="{BB962C8B-B14F-4D97-AF65-F5344CB8AC3E}">
        <p14:creationId xmlns:p14="http://schemas.microsoft.com/office/powerpoint/2010/main" val="35208073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135B97-ADA9-4EC9-AA3D-356131789A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 operato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A921EB-A0FC-4F32-A69F-07921A062E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Extensions of k8s/OpenShift API</a:t>
            </a:r>
          </a:p>
          <a:p>
            <a:r>
              <a:rPr lang="en-US" dirty="0"/>
              <a:t>Operator framework</a:t>
            </a:r>
          </a:p>
          <a:p>
            <a:pPr lvl="1"/>
            <a:r>
              <a:rPr lang="en-US" dirty="0">
                <a:hlinkClick r:id="rId2"/>
              </a:rPr>
              <a:t>https://github.com/operator-framework/operator-sdk</a:t>
            </a:r>
            <a:endParaRPr lang="en-US" dirty="0"/>
          </a:p>
          <a:p>
            <a:pPr lvl="1"/>
            <a:r>
              <a:rPr lang="en-US" dirty="0"/>
              <a:t>Go language</a:t>
            </a:r>
          </a:p>
          <a:p>
            <a:pPr lvl="1"/>
            <a:r>
              <a:rPr lang="en-US" dirty="0"/>
              <a:t>Testing</a:t>
            </a:r>
          </a:p>
          <a:p>
            <a:r>
              <a:rPr lang="en-US" dirty="0"/>
              <a:t>Autopilot of application</a:t>
            </a:r>
          </a:p>
          <a:p>
            <a:pPr lvl="1"/>
            <a:r>
              <a:rPr lang="en-US" dirty="0"/>
              <a:t>Installation, upgrades, restore, backups, auto scaling, self repair, …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DAC7811-1ACB-4F9C-B268-10415958E67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</p:spTree>
    <p:extLst>
      <p:ext uri="{BB962C8B-B14F-4D97-AF65-F5344CB8AC3E}">
        <p14:creationId xmlns:p14="http://schemas.microsoft.com/office/powerpoint/2010/main" val="21810497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2CC898-38E0-48D0-A402-76889FEF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rato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6E9FEF-0FB6-4D66-82A4-04FCABE319B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err="1"/>
              <a:t>CustomResource</a:t>
            </a:r>
            <a:r>
              <a:rPr lang="en-US" dirty="0"/>
              <a:t> of OpenShift</a:t>
            </a:r>
          </a:p>
          <a:p>
            <a:r>
              <a:rPr lang="en-US" dirty="0"/>
              <a:t>Control loop</a:t>
            </a:r>
          </a:p>
          <a:p>
            <a:pPr lvl="1"/>
            <a:r>
              <a:rPr lang="en-US" dirty="0"/>
              <a:t>Watch on objects</a:t>
            </a:r>
          </a:p>
          <a:p>
            <a:pPr lvl="1"/>
            <a:r>
              <a:rPr lang="en-US" dirty="0" err="1"/>
              <a:t>OnChange</a:t>
            </a:r>
            <a:r>
              <a:rPr lang="en-US" dirty="0"/>
              <a:t>: analyze difference between actual and desired state</a:t>
            </a:r>
          </a:p>
          <a:p>
            <a:pPr lvl="1"/>
            <a:r>
              <a:rPr lang="en-US" dirty="0"/>
              <a:t>Act on changes</a:t>
            </a:r>
          </a:p>
          <a:p>
            <a:r>
              <a:rPr lang="en-US" dirty="0"/>
              <a:t>Example</a:t>
            </a:r>
          </a:p>
          <a:p>
            <a:pPr lvl="1"/>
            <a:r>
              <a:rPr lang="en-US" dirty="0">
                <a:hlinkClick r:id="rId2"/>
              </a:rPr>
              <a:t>https://github.com/operator-framework/operator-sdk-samples/tree/master/memcached-operator</a:t>
            </a:r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F6096C8-4887-4E6E-975A-7CB23980219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</p:spTree>
    <p:extLst>
      <p:ext uri="{BB962C8B-B14F-4D97-AF65-F5344CB8AC3E}">
        <p14:creationId xmlns:p14="http://schemas.microsoft.com/office/powerpoint/2010/main" val="280946707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7387A9-3CC8-4634-9DFE-5D5E096C65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7B5995-19C1-4150-B407-42E0389E676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9F7D9AA-9D60-4F7F-A124-0E32F31C99D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</p:spTree>
    <p:extLst>
      <p:ext uri="{BB962C8B-B14F-4D97-AF65-F5344CB8AC3E}">
        <p14:creationId xmlns:p14="http://schemas.microsoft.com/office/powerpoint/2010/main" val="372021925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4F4585A-D58E-894A-9493-8E12B2E428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!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BFF28D9-CB94-B446-8FF5-DDF16526E1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Martin No</a:t>
            </a:r>
            <a:r>
              <a:rPr lang="cs-CZ" dirty="0" err="1">
                <a:solidFill>
                  <a:schemeClr val="bg1"/>
                </a:solidFill>
              </a:rPr>
              <a:t>vák</a:t>
            </a:r>
            <a:r>
              <a:rPr lang="cs-CZ" dirty="0">
                <a:solidFill>
                  <a:schemeClr val="bg1"/>
                </a:solidFill>
              </a:rPr>
              <a:t>,</a:t>
            </a:r>
          </a:p>
          <a:p>
            <a:r>
              <a:rPr lang="cs-CZ" dirty="0" err="1">
                <a:solidFill>
                  <a:schemeClr val="bg1"/>
                </a:solidFill>
              </a:rPr>
              <a:t>m.nov</a:t>
            </a:r>
            <a:r>
              <a:rPr lang="en-US" dirty="0">
                <a:solidFill>
                  <a:schemeClr val="bg1"/>
                </a:solidFill>
              </a:rPr>
              <a:t>4k@gmail.com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BFC1B36-3843-6D40-BB6D-BAB5DD0111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183445174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9AC688-DEF8-4AE3-AF1F-51CFE4E2F3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6B0D8B-074C-4BA9-99FF-37A93DB1A6E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https://kubernetes.io/</a:t>
            </a:r>
            <a:endParaRPr lang="en-US" dirty="0"/>
          </a:p>
          <a:p>
            <a:r>
              <a:rPr lang="en-US" dirty="0">
                <a:hlinkClick r:id="rId3"/>
              </a:rPr>
              <a:t>https://medium.com/@adilsonbna/installing-a-highly-available-openshift-origin-cluster-f3493cbdb644</a:t>
            </a:r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0F9DF07-0F09-4705-8187-7B2699943F4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</p:spTree>
    <p:extLst>
      <p:ext uri="{BB962C8B-B14F-4D97-AF65-F5344CB8AC3E}">
        <p14:creationId xmlns:p14="http://schemas.microsoft.com/office/powerpoint/2010/main" val="35841356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33" name="Diapositive think-cell" r:id="rId6" imgW="421" imgH="423" progId="TCLayout.ActiveDocument.1">
                  <p:embed/>
                </p:oleObj>
              </mc:Choice>
              <mc:Fallback>
                <p:oleObj name="Diapositive think-cell" r:id="rId6" imgW="421" imgH="423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CA2D2BB-C5AC-6545-9735-40E81A844860}"/>
              </a:ext>
            </a:extLst>
          </p:cNvPr>
          <p:cNvSpPr/>
          <p:nvPr/>
        </p:nvSpPr>
        <p:spPr>
          <a:xfrm rot="16200000">
            <a:off x="6916822" y="1380542"/>
            <a:ext cx="4303776" cy="4303776"/>
          </a:xfrm>
          <a:prstGeom prst="ellipse">
            <a:avLst/>
          </a:prstGeom>
          <a:gradFill>
            <a:gsLst>
              <a:gs pos="49000">
                <a:schemeClr val="accent1">
                  <a:alpha val="24000"/>
                </a:schemeClr>
              </a:gs>
              <a:gs pos="100000">
                <a:schemeClr val="accent6"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79798C2-F225-8343-B10F-8E0D1EE477C9}"/>
              </a:ext>
            </a:extLst>
          </p:cNvPr>
          <p:cNvSpPr/>
          <p:nvPr/>
        </p:nvSpPr>
        <p:spPr>
          <a:xfrm rot="16200000">
            <a:off x="7798691" y="1521786"/>
            <a:ext cx="2254374" cy="842942"/>
          </a:xfrm>
          <a:prstGeom prst="rect">
            <a:avLst/>
          </a:prstGeom>
          <a:gradFill>
            <a:gsLst>
              <a:gs pos="49000">
                <a:schemeClr val="accent1">
                  <a:alpha val="68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FCE8D86-89F3-5C48-84FC-D388BB317A0B}"/>
              </a:ext>
            </a:extLst>
          </p:cNvPr>
          <p:cNvSpPr/>
          <p:nvPr/>
        </p:nvSpPr>
        <p:spPr>
          <a:xfrm flipV="1">
            <a:off x="10131893" y="3847461"/>
            <a:ext cx="2177410" cy="777241"/>
          </a:xfrm>
          <a:prstGeom prst="rect">
            <a:avLst/>
          </a:prstGeom>
          <a:gradFill>
            <a:gsLst>
              <a:gs pos="49000">
                <a:schemeClr val="accent3">
                  <a:alpha val="55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F6626FB-7A2B-B14E-9F94-EE4EEA58BB7E}"/>
              </a:ext>
            </a:extLst>
          </p:cNvPr>
          <p:cNvSpPr/>
          <p:nvPr/>
        </p:nvSpPr>
        <p:spPr>
          <a:xfrm rot="16200000" flipV="1">
            <a:off x="6719877" y="417872"/>
            <a:ext cx="1637834" cy="796396"/>
          </a:xfrm>
          <a:prstGeom prst="rect">
            <a:avLst/>
          </a:prstGeom>
          <a:gradFill>
            <a:gsLst>
              <a:gs pos="49000">
                <a:schemeClr val="accent2">
                  <a:alpha val="80000"/>
                </a:schemeClr>
              </a:gs>
              <a:gs pos="99000">
                <a:schemeClr val="accent4">
                  <a:alpha val="84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2E0A814-B9BA-7A42-A06D-F26B575A2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olithic Architecture</a:t>
            </a:r>
          </a:p>
        </p:txBody>
      </p:sp>
      <p:pic>
        <p:nvPicPr>
          <p:cNvPr id="48227" name="Picture 99">
            <a:extLst>
              <a:ext uri="{FF2B5EF4-FFF2-40B4-BE49-F238E27FC236}">
                <a16:creationId xmlns:a16="http://schemas.microsoft.com/office/drawing/2014/main" id="{3A1E605D-86CD-4E6C-8C79-1A4DB5C1D6D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442"/>
          <a:stretch/>
        </p:blipFill>
        <p:spPr bwMode="auto">
          <a:xfrm>
            <a:off x="5719010" y="-2847"/>
            <a:ext cx="6472989" cy="6898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32036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9C6B6B5-2231-3B42-9AB3-D22BBDB83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olithic architectu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80AF7F-16D6-694F-A811-E993F87E6D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Autofit/>
          </a:bodyPr>
          <a:lstStyle/>
          <a:p>
            <a:r>
              <a:rPr lang="en-US" sz="2800" dirty="0"/>
              <a:t>One big code base</a:t>
            </a:r>
          </a:p>
          <a:p>
            <a:pPr lvl="1"/>
            <a:r>
              <a:rPr lang="en-US" sz="2800" dirty="0"/>
              <a:t>Hard maintenance</a:t>
            </a:r>
          </a:p>
          <a:p>
            <a:pPr marL="0" indent="0">
              <a:buNone/>
            </a:pPr>
            <a:endParaRPr lang="en-US" sz="2800" dirty="0"/>
          </a:p>
          <a:p>
            <a:r>
              <a:rPr lang="en-US" sz="2800" dirty="0"/>
              <a:t>One process</a:t>
            </a:r>
          </a:p>
          <a:p>
            <a:pPr lvl="1"/>
            <a:r>
              <a:rPr lang="en-US" sz="2800" dirty="0"/>
              <a:t>Single point of failure</a:t>
            </a:r>
          </a:p>
          <a:p>
            <a:pPr lvl="1"/>
            <a:r>
              <a:rPr lang="en-US" sz="2800" dirty="0"/>
              <a:t>Shared memory advantage</a:t>
            </a:r>
          </a:p>
          <a:p>
            <a:endParaRPr lang="en-US" sz="2800" dirty="0"/>
          </a:p>
          <a:p>
            <a:r>
              <a:rPr lang="en-US" sz="2800" dirty="0"/>
              <a:t>Usually one platform supporte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7170DD7-1C2F-41BA-9FAE-D1F7CA472FC6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 r="70730"/>
          <a:stretch>
            <a:fillRect/>
          </a:stretch>
        </p:blipFill>
        <p:spPr>
          <a:xfrm>
            <a:off x="7771554" y="1143905"/>
            <a:ext cx="2756519" cy="512423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067827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9C6B6B5-2231-3B42-9AB3-D22BBDB83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olithic architecture - Scaling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80AF7F-16D6-694F-A811-E993F87E6D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Autofit/>
          </a:bodyPr>
          <a:lstStyle/>
          <a:p>
            <a:r>
              <a:rPr lang="en-US" sz="2800" dirty="0"/>
              <a:t>Required horizontal and vertical scaling</a:t>
            </a:r>
          </a:p>
          <a:p>
            <a:pPr marL="0" indent="0">
              <a:buNone/>
            </a:pPr>
            <a:endParaRPr lang="en-US" sz="2800" dirty="0"/>
          </a:p>
          <a:p>
            <a:r>
              <a:rPr lang="en-US" sz="2800" dirty="0"/>
              <a:t>Complex custom load balancer configuration</a:t>
            </a:r>
          </a:p>
          <a:p>
            <a:endParaRPr lang="en-US" sz="2800" dirty="0"/>
          </a:p>
          <a:p>
            <a:r>
              <a:rPr lang="en-US" sz="2800" dirty="0"/>
              <a:t>Installer wizard</a:t>
            </a:r>
          </a:p>
          <a:p>
            <a:pPr lvl="1"/>
            <a:r>
              <a:rPr lang="en-US" sz="2533" dirty="0"/>
              <a:t>Separate applic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A0809A3-27CF-401D-8122-0D3E3D49FD5B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6985750" y="2857998"/>
            <a:ext cx="3120748" cy="358083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080298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37" name="Diapositive think-cell" r:id="rId6" imgW="421" imgH="423" progId="TCLayout.ActiveDocument.1">
                  <p:embed/>
                </p:oleObj>
              </mc:Choice>
              <mc:Fallback>
                <p:oleObj name="Diapositive think-cell" r:id="rId6" imgW="421" imgH="423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CA2D2BB-C5AC-6545-9735-40E81A844860}"/>
              </a:ext>
            </a:extLst>
          </p:cNvPr>
          <p:cNvSpPr/>
          <p:nvPr/>
        </p:nvSpPr>
        <p:spPr>
          <a:xfrm rot="16200000">
            <a:off x="6916822" y="1380542"/>
            <a:ext cx="4303776" cy="4303776"/>
          </a:xfrm>
          <a:prstGeom prst="ellipse">
            <a:avLst/>
          </a:prstGeom>
          <a:gradFill>
            <a:gsLst>
              <a:gs pos="49000">
                <a:schemeClr val="accent1">
                  <a:alpha val="24000"/>
                </a:schemeClr>
              </a:gs>
              <a:gs pos="100000">
                <a:schemeClr val="accent6"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79798C2-F225-8343-B10F-8E0D1EE477C9}"/>
              </a:ext>
            </a:extLst>
          </p:cNvPr>
          <p:cNvSpPr/>
          <p:nvPr/>
        </p:nvSpPr>
        <p:spPr>
          <a:xfrm rot="16200000">
            <a:off x="7798691" y="1521786"/>
            <a:ext cx="2254374" cy="842942"/>
          </a:xfrm>
          <a:prstGeom prst="rect">
            <a:avLst/>
          </a:prstGeom>
          <a:gradFill>
            <a:gsLst>
              <a:gs pos="49000">
                <a:schemeClr val="accent1">
                  <a:alpha val="68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FCE8D86-89F3-5C48-84FC-D388BB317A0B}"/>
              </a:ext>
            </a:extLst>
          </p:cNvPr>
          <p:cNvSpPr/>
          <p:nvPr/>
        </p:nvSpPr>
        <p:spPr>
          <a:xfrm flipV="1">
            <a:off x="10131893" y="3847461"/>
            <a:ext cx="2177410" cy="777241"/>
          </a:xfrm>
          <a:prstGeom prst="rect">
            <a:avLst/>
          </a:prstGeom>
          <a:gradFill>
            <a:gsLst>
              <a:gs pos="49000">
                <a:schemeClr val="accent3">
                  <a:alpha val="55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F6626FB-7A2B-B14E-9F94-EE4EEA58BB7E}"/>
              </a:ext>
            </a:extLst>
          </p:cNvPr>
          <p:cNvSpPr/>
          <p:nvPr/>
        </p:nvSpPr>
        <p:spPr>
          <a:xfrm rot="16200000" flipV="1">
            <a:off x="6719877" y="417872"/>
            <a:ext cx="1637834" cy="796396"/>
          </a:xfrm>
          <a:prstGeom prst="rect">
            <a:avLst/>
          </a:prstGeom>
          <a:gradFill>
            <a:gsLst>
              <a:gs pos="49000">
                <a:schemeClr val="accent2">
                  <a:alpha val="80000"/>
                </a:schemeClr>
              </a:gs>
              <a:gs pos="99000">
                <a:schemeClr val="accent4">
                  <a:alpha val="84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Placeholder 4" descr="A picture containing outdoor, many, filled, table&#10;&#10;Description automatically generated">
            <a:extLst>
              <a:ext uri="{FF2B5EF4-FFF2-40B4-BE49-F238E27FC236}">
                <a16:creationId xmlns:a16="http://schemas.microsoft.com/office/drawing/2014/main" id="{BE857AD2-2063-448D-BFCA-9CB08F5BFA75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8"/>
          <a:srcRect l="15652" r="15652"/>
          <a:stretch>
            <a:fillRect/>
          </a:stretch>
        </p:blipFill>
        <p:spPr/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B2E0A814-B9BA-7A42-A06D-F26B575A2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cker</a:t>
            </a:r>
          </a:p>
        </p:txBody>
      </p:sp>
    </p:spTree>
    <p:extLst>
      <p:ext uri="{BB962C8B-B14F-4D97-AF65-F5344CB8AC3E}">
        <p14:creationId xmlns:p14="http://schemas.microsoft.com/office/powerpoint/2010/main" val="13419525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9C6B6B5-2231-3B42-9AB3-D22BBDB83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cker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80AF7F-16D6-694F-A811-E993F87E6D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Autofit/>
          </a:bodyPr>
          <a:lstStyle/>
          <a:p>
            <a:r>
              <a:rPr lang="en-US" sz="2800" dirty="0"/>
              <a:t>Containers</a:t>
            </a:r>
          </a:p>
          <a:p>
            <a:r>
              <a:rPr lang="en-US" sz="2800" dirty="0"/>
              <a:t>Isolation/Security</a:t>
            </a:r>
          </a:p>
          <a:p>
            <a:r>
              <a:rPr lang="en-US" sz="2800" dirty="0"/>
              <a:t>Same kernel as host system</a:t>
            </a:r>
          </a:p>
          <a:p>
            <a:pPr lvl="1"/>
            <a:r>
              <a:rPr lang="en-US" sz="2533" dirty="0"/>
              <a:t>Faster than VMs</a:t>
            </a:r>
          </a:p>
          <a:p>
            <a:r>
              <a:rPr lang="en-US" sz="2800" dirty="0"/>
              <a:t>Image contains everything for run</a:t>
            </a:r>
          </a:p>
          <a:p>
            <a:r>
              <a:rPr lang="en-US" sz="2800" dirty="0"/>
              <a:t>Useful for run of multiple applications simultaneously</a:t>
            </a:r>
          </a:p>
        </p:txBody>
      </p:sp>
    </p:spTree>
    <p:extLst>
      <p:ext uri="{BB962C8B-B14F-4D97-AF65-F5344CB8AC3E}">
        <p14:creationId xmlns:p14="http://schemas.microsoft.com/office/powerpoint/2010/main" val="37464304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10E6F-7A31-4682-94C5-733C03BA24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82D604-D164-4D5D-87E3-E0378BD36D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0162B62-89DF-45F6-94DF-8A6E53DE1F5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839C88F-E9CD-4134-8C99-4B5B967E9E39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1560576" y="1191804"/>
            <a:ext cx="9419760" cy="512423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568276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55" name="Diapositive think-cell" r:id="rId6" imgW="421" imgH="423" progId="TCLayout.ActiveDocument.1">
                  <p:embed/>
                </p:oleObj>
              </mc:Choice>
              <mc:Fallback>
                <p:oleObj name="Diapositive think-cell" r:id="rId6" imgW="421" imgH="423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CA2D2BB-C5AC-6545-9735-40E81A844860}"/>
              </a:ext>
            </a:extLst>
          </p:cNvPr>
          <p:cNvSpPr/>
          <p:nvPr/>
        </p:nvSpPr>
        <p:spPr>
          <a:xfrm rot="16200000">
            <a:off x="6916822" y="1380542"/>
            <a:ext cx="4303776" cy="4303776"/>
          </a:xfrm>
          <a:prstGeom prst="ellipse">
            <a:avLst/>
          </a:prstGeom>
          <a:gradFill>
            <a:gsLst>
              <a:gs pos="49000">
                <a:schemeClr val="accent1">
                  <a:alpha val="24000"/>
                </a:schemeClr>
              </a:gs>
              <a:gs pos="100000">
                <a:schemeClr val="accent6"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79798C2-F225-8343-B10F-8E0D1EE477C9}"/>
              </a:ext>
            </a:extLst>
          </p:cNvPr>
          <p:cNvSpPr/>
          <p:nvPr/>
        </p:nvSpPr>
        <p:spPr>
          <a:xfrm rot="16200000">
            <a:off x="7798691" y="1521786"/>
            <a:ext cx="2254374" cy="842942"/>
          </a:xfrm>
          <a:prstGeom prst="rect">
            <a:avLst/>
          </a:prstGeom>
          <a:gradFill>
            <a:gsLst>
              <a:gs pos="49000">
                <a:schemeClr val="accent1">
                  <a:alpha val="68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FCE8D86-89F3-5C48-84FC-D388BB317A0B}"/>
              </a:ext>
            </a:extLst>
          </p:cNvPr>
          <p:cNvSpPr/>
          <p:nvPr/>
        </p:nvSpPr>
        <p:spPr>
          <a:xfrm flipV="1">
            <a:off x="10131893" y="3847461"/>
            <a:ext cx="2177410" cy="777241"/>
          </a:xfrm>
          <a:prstGeom prst="rect">
            <a:avLst/>
          </a:prstGeom>
          <a:gradFill>
            <a:gsLst>
              <a:gs pos="49000">
                <a:schemeClr val="accent3">
                  <a:alpha val="55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F6626FB-7A2B-B14E-9F94-EE4EEA58BB7E}"/>
              </a:ext>
            </a:extLst>
          </p:cNvPr>
          <p:cNvSpPr/>
          <p:nvPr/>
        </p:nvSpPr>
        <p:spPr>
          <a:xfrm rot="16200000" flipV="1">
            <a:off x="6719877" y="417872"/>
            <a:ext cx="1637834" cy="796396"/>
          </a:xfrm>
          <a:prstGeom prst="rect">
            <a:avLst/>
          </a:prstGeom>
          <a:gradFill>
            <a:gsLst>
              <a:gs pos="49000">
                <a:schemeClr val="accent2">
                  <a:alpha val="80000"/>
                </a:schemeClr>
              </a:gs>
              <a:gs pos="99000">
                <a:schemeClr val="accent4">
                  <a:alpha val="84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Placeholder 4" descr="A crowd of people in a room&#10;&#10;Description automatically generated">
            <a:extLst>
              <a:ext uri="{FF2B5EF4-FFF2-40B4-BE49-F238E27FC236}">
                <a16:creationId xmlns:a16="http://schemas.microsoft.com/office/drawing/2014/main" id="{4D838A83-EE2E-4F32-BAC5-555A40AAAFE8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8"/>
          <a:srcRect l="22934" r="22934"/>
          <a:stretch>
            <a:fillRect/>
          </a:stretch>
        </p:blipFill>
        <p:spPr/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B2E0A814-B9BA-7A42-A06D-F26B575A2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iner Orchestration</a:t>
            </a:r>
          </a:p>
        </p:txBody>
      </p:sp>
    </p:spTree>
    <p:extLst>
      <p:ext uri="{BB962C8B-B14F-4D97-AF65-F5344CB8AC3E}">
        <p14:creationId xmlns:p14="http://schemas.microsoft.com/office/powerpoint/2010/main" val="23372730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idpa8kQeW7lGjiq1vM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idpa8kQeW7lGjiq1vM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idpa8kQeW7lGjiq1vM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idpa8kQeW7lGjiq1vM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qn3">
  <a:themeElements>
    <a:clrScheme name="Custom 2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FF4100"/>
      </a:accent1>
      <a:accent2>
        <a:srgbClr val="7536F0"/>
      </a:accent2>
      <a:accent3>
        <a:srgbClr val="71BF44"/>
      </a:accent3>
      <a:accent4>
        <a:srgbClr val="05B9F0"/>
      </a:accent4>
      <a:accent5>
        <a:srgbClr val="1ACFBF"/>
      </a:accent5>
      <a:accent6>
        <a:srgbClr val="D9FA4F"/>
      </a:accent6>
      <a:hlink>
        <a:srgbClr val="7536F0"/>
      </a:hlink>
      <a:folHlink>
        <a:srgbClr val="D6084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FC4BDA0B-C998-1546-9B70-3E6AD67EE280}" vid="{B9E57E54-8C89-2C4A-B090-F96E5A0DC08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7E614DB5C33854C857B714264FAF87F" ma:contentTypeVersion="7" ma:contentTypeDescription="Create a new document." ma:contentTypeScope="" ma:versionID="35f8abe9de87148f62293986a118c4a2">
  <xsd:schema xmlns:xsd="http://www.w3.org/2001/XMLSchema" xmlns:xs="http://www.w3.org/2001/XMLSchema" xmlns:p="http://schemas.microsoft.com/office/2006/metadata/properties" xmlns:ns2="b7cf5ea5-dbd4-4264-9cbd-1657fe4f88b3" targetNamespace="http://schemas.microsoft.com/office/2006/metadata/properties" ma:root="true" ma:fieldsID="3d210ce03611296f1bb1aa0d41b306e5" ns2:_="">
    <xsd:import namespace="b7cf5ea5-dbd4-4264-9cbd-1657fe4f88b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cf5ea5-dbd4-4264-9cbd-1657fe4f88b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1F5EAB3-8807-4C45-B064-2A4F9EB2E2D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1F9BE2F-D356-4DF1-BECC-5A78EF952D7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7cf5ea5-dbd4-4264-9cbd-1657fe4f88b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482C44C-A80D-4577-ACF3-68366839A07A}">
  <ds:schemaRefs>
    <ds:schemaRef ds:uri="http://purl.org/dc/terms/"/>
    <ds:schemaRef ds:uri="http://schemas.openxmlformats.org/package/2006/metadata/core-properties"/>
    <ds:schemaRef ds:uri="08d6cad4-b922-4601-b3e8-51a0c0150455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042f5929-5940-4e0d-a5f0-fc1606770665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terprise-grade-deployment-2019</Template>
  <TotalTime>175</TotalTime>
  <Words>337</Words>
  <Application>Microsoft Office PowerPoint</Application>
  <PresentationFormat>Widescreen</PresentationFormat>
  <Paragraphs>106</Paragraphs>
  <Slides>25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3" baseType="lpstr">
      <vt:lpstr>Arial</vt:lpstr>
      <vt:lpstr>Calibri</vt:lpstr>
      <vt:lpstr>Franklin Gothic Book</vt:lpstr>
      <vt:lpstr>Quicksand</vt:lpstr>
      <vt:lpstr>Verdana</vt:lpstr>
      <vt:lpstr>Wingdings</vt:lpstr>
      <vt:lpstr>1_qn3</vt:lpstr>
      <vt:lpstr>Diapositive think-cell</vt:lpstr>
      <vt:lpstr>Enterprise  Grade Deployment</vt:lpstr>
      <vt:lpstr>Agenda</vt:lpstr>
      <vt:lpstr>Monolithic Architecture</vt:lpstr>
      <vt:lpstr>Monolithic architecture</vt:lpstr>
      <vt:lpstr>Monolithic architecture - Scaling</vt:lpstr>
      <vt:lpstr>Docker</vt:lpstr>
      <vt:lpstr>Docker</vt:lpstr>
      <vt:lpstr>PowerPoint Presentation</vt:lpstr>
      <vt:lpstr>Container Orchestration</vt:lpstr>
      <vt:lpstr>Container orchestration</vt:lpstr>
      <vt:lpstr>Kubernetes (K8s)</vt:lpstr>
      <vt:lpstr>Kubernetes cluster</vt:lpstr>
      <vt:lpstr>Kubernetes node</vt:lpstr>
      <vt:lpstr>Kubernetes installation</vt:lpstr>
      <vt:lpstr>OpenShift</vt:lpstr>
      <vt:lpstr>OpenShift</vt:lpstr>
      <vt:lpstr>Openshift cluster</vt:lpstr>
      <vt:lpstr>Openshift installation</vt:lpstr>
      <vt:lpstr>Demo</vt:lpstr>
      <vt:lpstr>Kubernetes Operators</vt:lpstr>
      <vt:lpstr>Kubernetes operators</vt:lpstr>
      <vt:lpstr>Operators</vt:lpstr>
      <vt:lpstr>Summary</vt:lpstr>
      <vt:lpstr>Thank you!</vt:lpstr>
      <vt:lpstr>Resour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terprise  Grade Deployment</dc:title>
  <dc:creator>Martin Novák</dc:creator>
  <cp:lastModifiedBy>Martin Novák</cp:lastModifiedBy>
  <cp:revision>43</cp:revision>
  <cp:lastPrinted>2019-09-08T06:20:56Z</cp:lastPrinted>
  <dcterms:created xsi:type="dcterms:W3CDTF">2019-10-09T06:01:13Z</dcterms:created>
  <dcterms:modified xsi:type="dcterms:W3CDTF">2019-10-09T08:59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7E614DB5C33854C857B714264FAF87F</vt:lpwstr>
  </property>
</Properties>
</file>